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9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4922" r:id="rId1"/>
    <p:sldMasterId id="2147484923" r:id="rId2"/>
  </p:sldMasterIdLst>
  <p:notesMasterIdLst>
    <p:notesMasterId r:id="rId53"/>
  </p:notesMasterIdLst>
  <p:handoutMasterIdLst>
    <p:handoutMasterId r:id="rId54"/>
  </p:handout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96" r:id="rId14"/>
    <p:sldId id="297" r:id="rId15"/>
    <p:sldId id="298" r:id="rId16"/>
    <p:sldId id="315" r:id="rId17"/>
    <p:sldId id="316" r:id="rId18"/>
    <p:sldId id="317" r:id="rId19"/>
    <p:sldId id="318" r:id="rId20"/>
    <p:sldId id="273" r:id="rId21"/>
    <p:sldId id="274" r:id="rId22"/>
    <p:sldId id="275" r:id="rId23"/>
    <p:sldId id="276" r:id="rId24"/>
    <p:sldId id="277" r:id="rId25"/>
    <p:sldId id="278" r:id="rId26"/>
    <p:sldId id="304" r:id="rId27"/>
    <p:sldId id="305" r:id="rId28"/>
    <p:sldId id="306" r:id="rId29"/>
    <p:sldId id="307" r:id="rId30"/>
    <p:sldId id="308" r:id="rId31"/>
    <p:sldId id="309" r:id="rId32"/>
    <p:sldId id="310" r:id="rId33"/>
    <p:sldId id="280" r:id="rId34"/>
    <p:sldId id="281" r:id="rId35"/>
    <p:sldId id="282" r:id="rId36"/>
    <p:sldId id="283" r:id="rId37"/>
    <p:sldId id="319" r:id="rId38"/>
    <p:sldId id="320" r:id="rId39"/>
    <p:sldId id="321" r:id="rId40"/>
    <p:sldId id="285" r:id="rId41"/>
    <p:sldId id="311" r:id="rId42"/>
    <p:sldId id="312" r:id="rId43"/>
    <p:sldId id="313" r:id="rId44"/>
    <p:sldId id="314" r:id="rId45"/>
    <p:sldId id="291" r:id="rId46"/>
    <p:sldId id="293" r:id="rId47"/>
    <p:sldId id="299" r:id="rId48"/>
    <p:sldId id="302" r:id="rId49"/>
    <p:sldId id="301" r:id="rId50"/>
    <p:sldId id="300" r:id="rId51"/>
    <p:sldId id="303" r:id="rId52"/>
  </p:sldIdLst>
  <p:sldSz cx="10260013" cy="6858000"/>
  <p:notesSz cx="6805613" cy="9939338"/>
  <p:embeddedFontLst>
    <p:embeddedFont>
      <p:font typeface="Century Gothic" panose="020B0502020202020204" pitchFamily="34" charset="0"/>
      <p:regular r:id="rId55"/>
      <p:bold r:id="rId56"/>
      <p:italic r:id="rId57"/>
      <p:boldItalic r:id="rId58"/>
    </p:embeddedFont>
    <p:embeddedFont>
      <p:font typeface="Optima" panose="020B0600000101010101" charset="-127"/>
      <p:regular r:id="rId59"/>
    </p:embeddedFont>
    <p:embeddedFont>
      <p:font typeface="뫼비우스 Regular" panose="02000700060000000000" pitchFamily="2" charset="-127"/>
      <p:regular r:id="rId60"/>
    </p:embeddedFont>
    <p:embeddedFont>
      <p:font typeface="맑은 고딕" panose="020B0503020000020004" pitchFamily="50" charset="-127"/>
      <p:regular r:id="rId61"/>
      <p:bold r:id="rId62"/>
    </p:embeddedFont>
    <p:embeddedFont>
      <p:font typeface="뫼비우스 Bold" panose="02000500000000000000" pitchFamily="2" charset="-127"/>
      <p:regular r:id="rId63"/>
    </p:embeddedFont>
  </p:embeddedFontLst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/>
        <a:ea typeface="굴림"/>
        <a:cs typeface="+mn-cs"/>
      </a:defRPr>
    </a:lvl1pPr>
    <a:lvl2pPr marL="430124" indent="26982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/>
        <a:ea typeface="굴림"/>
        <a:cs typeface="+mn-cs"/>
      </a:defRPr>
    </a:lvl2pPr>
    <a:lvl3pPr marL="861833" indent="52376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/>
        <a:ea typeface="굴림"/>
        <a:cs typeface="+mn-cs"/>
      </a:defRPr>
    </a:lvl3pPr>
    <a:lvl4pPr marL="1293544" indent="77772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/>
        <a:ea typeface="굴림"/>
        <a:cs typeface="+mn-cs"/>
      </a:defRPr>
    </a:lvl4pPr>
    <a:lvl5pPr marL="1725254" indent="103166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/>
        <a:ea typeface="굴림"/>
        <a:cs typeface="+mn-cs"/>
      </a:defRPr>
    </a:lvl5pPr>
    <a:lvl6pPr marL="2285525" algn="l" defTabSz="914210" rtl="0" eaLnBrk="1" latinLnBrk="1" hangingPunct="1">
      <a:defRPr kumimoji="1" sz="1100" kern="1200">
        <a:solidFill>
          <a:schemeClr val="tx1"/>
        </a:solidFill>
        <a:latin typeface="맑은 고딕"/>
        <a:ea typeface="굴림"/>
        <a:cs typeface="+mn-cs"/>
      </a:defRPr>
    </a:lvl6pPr>
    <a:lvl7pPr marL="2742630" algn="l" defTabSz="914210" rtl="0" eaLnBrk="1" latinLnBrk="1" hangingPunct="1">
      <a:defRPr kumimoji="1" sz="1100" kern="1200">
        <a:solidFill>
          <a:schemeClr val="tx1"/>
        </a:solidFill>
        <a:latin typeface="맑은 고딕"/>
        <a:ea typeface="굴림"/>
        <a:cs typeface="+mn-cs"/>
      </a:defRPr>
    </a:lvl7pPr>
    <a:lvl8pPr marL="3199737" algn="l" defTabSz="914210" rtl="0" eaLnBrk="1" latinLnBrk="1" hangingPunct="1">
      <a:defRPr kumimoji="1" sz="1100" kern="1200">
        <a:solidFill>
          <a:schemeClr val="tx1"/>
        </a:solidFill>
        <a:latin typeface="맑은 고딕"/>
        <a:ea typeface="굴림"/>
        <a:cs typeface="+mn-cs"/>
      </a:defRPr>
    </a:lvl8pPr>
    <a:lvl9pPr marL="3656841" algn="l" defTabSz="914210" rtl="0" eaLnBrk="1" latinLnBrk="1" hangingPunct="1">
      <a:defRPr kumimoji="1" sz="1100" kern="1200">
        <a:solidFill>
          <a:schemeClr val="tx1"/>
        </a:solidFill>
        <a:latin typeface="맑은 고딕"/>
        <a:ea typeface="굴림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671893D9-5D51-4D8F-80DF-EF916992F7B9}">
          <p14:sldIdLst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96"/>
            <p14:sldId id="297"/>
            <p14:sldId id="298"/>
            <p14:sldId id="315"/>
            <p14:sldId id="316"/>
            <p14:sldId id="317"/>
            <p14:sldId id="318"/>
            <p14:sldId id="273"/>
            <p14:sldId id="274"/>
            <p14:sldId id="275"/>
            <p14:sldId id="276"/>
            <p14:sldId id="277"/>
            <p14:sldId id="278"/>
            <p14:sldId id="304"/>
            <p14:sldId id="305"/>
            <p14:sldId id="306"/>
            <p14:sldId id="307"/>
            <p14:sldId id="308"/>
            <p14:sldId id="309"/>
            <p14:sldId id="310"/>
            <p14:sldId id="280"/>
            <p14:sldId id="281"/>
            <p14:sldId id="282"/>
            <p14:sldId id="283"/>
            <p14:sldId id="319"/>
            <p14:sldId id="320"/>
            <p14:sldId id="321"/>
            <p14:sldId id="285"/>
            <p14:sldId id="311"/>
            <p14:sldId id="312"/>
            <p14:sldId id="313"/>
            <p14:sldId id="314"/>
            <p14:sldId id="291"/>
            <p14:sldId id="293"/>
            <p14:sldId id="299"/>
            <p14:sldId id="302"/>
            <p14:sldId id="301"/>
            <p14:sldId id="300"/>
            <p14:sldId id="3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32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ACF4677E-8BD2-47ae-8A1F-98590045965D">
      <hp:hncThemeShow xmlns:hp="http://schemas.haansoft.com/office/presentation/8.0" xmlns:dsp="http://schemas.microsoft.com/office/drawing/2008/diagram" xmlns:dgm="http://schemas.openxmlformats.org/drawingml/2006/diagram" xmlns:c="http://schemas.openxmlformats.org/drawingml/2006/chart" xmlns="" themeShowType="1" themeSkinType="1" themeTransitionType="1" useThemeTransition="1" byMouseClick="1" attrType="1" dur="200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TxStyle/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TxStyle/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D083AE6-46FA-4A59-8FB0-9F97EB10719F}" styleName="밝은 스타일 3 - 강조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99" autoAdjust="0"/>
    <p:restoredTop sz="98837" autoAdjust="0"/>
  </p:normalViewPr>
  <p:slideViewPr>
    <p:cSldViewPr snapToObjects="1">
      <p:cViewPr varScale="1">
        <p:scale>
          <a:sx n="89" d="100"/>
          <a:sy n="89" d="100"/>
        </p:scale>
        <p:origin x="1147" y="67"/>
      </p:cViewPr>
      <p:guideLst>
        <p:guide orient="horz" pos="2159"/>
        <p:guide pos="32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92"/>
    </p:cViewPr>
  </p:sorterViewPr>
  <p:notesViewPr>
    <p:cSldViewPr snapToObjects="1">
      <p:cViewPr varScale="1">
        <p:scale>
          <a:sx n="80" d="100"/>
          <a:sy n="80" d="100"/>
        </p:scale>
        <p:origin x="-4044" y="-108"/>
      </p:cViewPr>
      <p:guideLst>
        <p:guide orient="horz" pos="3130"/>
        <p:guide pos="21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font" Target="fonts/font1.fntdata"/><Relationship Id="rId63" Type="http://schemas.openxmlformats.org/officeDocument/2006/relationships/font" Target="fonts/font9.fntdata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4.fntdata"/><Relationship Id="rId66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font" Target="fonts/font3.fntdata"/><Relationship Id="rId61" Type="http://schemas.openxmlformats.org/officeDocument/2006/relationships/font" Target="fonts/font7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font" Target="fonts/font6.fntdata"/><Relationship Id="rId6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font" Target="fonts/font2.fntdata"/><Relationship Id="rId64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font" Target="fonts/font5.fntdata"/><Relationship Id="rId67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handoutMaster" Target="handoutMasters/handoutMaster1.xml"/><Relationship Id="rId62" Type="http://schemas.openxmlformats.org/officeDocument/2006/relationships/font" Target="fonts/font8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D3AD67-B67A-6A49-933E-C718C8F3BE19}" type="doc">
      <dgm:prSet loTypeId="urn:microsoft.com/office/officeart/2005/8/layout/cycle7" loCatId="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pPr latinLnBrk="1"/>
          <a:endParaRPr lang="ko-KR" altLang="en-US"/>
        </a:p>
      </dgm:t>
    </dgm:pt>
    <dgm:pt modelId="{025BF8C6-DB3E-BF4B-B443-A775D3B654A7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44EFC3-9EC5-0D44-A462-78116B80A839}" type="parTrans" cxnId="{B1662BA1-7EAE-A24F-8378-20DA59525DD6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AFC1F1-C9E4-5B41-BB84-D43C25BC6444}" type="sibTrans" cxnId="{B1662BA1-7EAE-A24F-8378-20DA59525DD6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09D72B-B3DF-524F-9F12-CA1A0523FADA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71218A-50C7-AC41-B385-3AE8127B7367}" type="parTrans" cxnId="{52362F48-DE53-4C4D-AAEE-8264AAC1AD13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44519D-8F09-B141-9078-A8592DEFD43E}" type="sibTrans" cxnId="{52362F48-DE53-4C4D-AAEE-8264AAC1AD13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4C87C9-DECD-614D-A759-3FDE70D6F610}">
      <dgm:prSet phldrT="[텍스트]"/>
      <dgm:spPr/>
      <dgm:t>
        <a:bodyPr/>
        <a:lstStyle/>
        <a:p>
          <a:pPr latinLnBrk="1"/>
          <a:r>
            <a:rPr lang="en-US" altLang="ko-KR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84F7BE4-53CB-894D-99FF-1E11E48AE5A3}" type="parTrans" cxnId="{BE25780C-9EC6-2046-ACF4-BF98FF1EC557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6D63DF-CCCA-5143-B944-54AA772E3412}" type="sibTrans" cxnId="{BE25780C-9EC6-2046-ACF4-BF98FF1EC557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16FE9E-2999-3F46-B433-9E55BA5361EB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0DE649-764D-1F43-B51F-97C8D6227C2E}" type="parTrans" cxnId="{469A0C64-A88B-AC47-9B72-BA1E493BEA18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EB5097-567D-B24D-9E5D-28706A9B89FD}" type="sibTrans" cxnId="{469A0C64-A88B-AC47-9B72-BA1E493BEA18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E4B79D-FC28-BB40-93F7-F2AB08F8C90F}" type="pres">
      <dgm:prSet presAssocID="{2AD3AD67-B67A-6A49-933E-C718C8F3BE1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BB7F2E3-CEE7-0349-B429-D03940C2DE50}" type="pres">
      <dgm:prSet presAssocID="{025BF8C6-DB3E-BF4B-B443-A775D3B654A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AED067B-A8E9-A947-B114-AD96599B5715}" type="pres">
      <dgm:prSet presAssocID="{45AFC1F1-C9E4-5B41-BB84-D43C25BC6444}" presName="sibTrans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406D266-A997-234D-8874-0ADCAEB1AF04}" type="pres">
      <dgm:prSet presAssocID="{45AFC1F1-C9E4-5B41-BB84-D43C25BC6444}" presName="connectorText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4B18A294-2EDC-FE4F-9C77-D1985D3ED37C}" type="pres">
      <dgm:prSet presAssocID="{3109D72B-B3DF-524F-9F12-CA1A0523FADA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08EC7C9-EA76-794F-A58F-DA2026357C1D}" type="pres">
      <dgm:prSet presAssocID="{D044519D-8F09-B141-9078-A8592DEFD43E}" presName="sibTrans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678D17D2-9046-FF43-8767-0D14C7460A54}" type="pres">
      <dgm:prSet presAssocID="{D044519D-8F09-B141-9078-A8592DEFD43E}" presName="connectorText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ED5D6777-547F-8745-ACAF-CDFFEFC12F65}" type="pres">
      <dgm:prSet presAssocID="{944C87C9-DECD-614D-A759-3FDE70D6F610}" presName="node" presStyleLbl="node1" presStyleIdx="2" presStyleCnt="4" custRadScaleRad="103785" custRadScaleInc="19532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7271990-1414-1A46-BF78-9EFE231AE4ED}" type="pres">
      <dgm:prSet presAssocID="{366D63DF-CCCA-5143-B944-54AA772E3412}" presName="sibTrans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5B5A3B74-DCF5-2C4A-8170-4FD883F53DC6}" type="pres">
      <dgm:prSet presAssocID="{366D63DF-CCCA-5143-B944-54AA772E3412}" presName="connectorText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0B339C76-E272-034E-9549-18A374B46701}" type="pres">
      <dgm:prSet presAssocID="{5316FE9E-2999-3F46-B433-9E55BA5361EB}" presName="node" presStyleLbl="node1" presStyleIdx="3" presStyleCnt="4" custScaleX="100000" custRadScaleRad="94297" custRadScaleInc="-19758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C41A735-DEE8-3A4A-B2C2-A18533F8CB71}" type="pres">
      <dgm:prSet presAssocID="{6AEB5097-567D-B24D-9E5D-28706A9B89FD}" presName="sibTrans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59EE1FB-8E61-9041-9F9E-7E87098323C5}" type="pres">
      <dgm:prSet presAssocID="{6AEB5097-567D-B24D-9E5D-28706A9B89FD}" presName="connectorText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</dgm:ptLst>
  <dgm:cxnLst>
    <dgm:cxn modelId="{D78E9B01-F6AD-4D2F-A919-05E269EF9F51}" type="presOf" srcId="{5316FE9E-2999-3F46-B433-9E55BA5361EB}" destId="{0B339C76-E272-034E-9549-18A374B46701}" srcOrd="0" destOrd="0" presId="urn:microsoft.com/office/officeart/2005/8/layout/cycle7"/>
    <dgm:cxn modelId="{469A0C64-A88B-AC47-9B72-BA1E493BEA18}" srcId="{2AD3AD67-B67A-6A49-933E-C718C8F3BE19}" destId="{5316FE9E-2999-3F46-B433-9E55BA5361EB}" srcOrd="3" destOrd="0" parTransId="{E30DE649-764D-1F43-B51F-97C8D6227C2E}" sibTransId="{6AEB5097-567D-B24D-9E5D-28706A9B89FD}"/>
    <dgm:cxn modelId="{B1198552-8746-4D5B-9E29-62AAB79D6F4A}" type="presOf" srcId="{944C87C9-DECD-614D-A759-3FDE70D6F610}" destId="{ED5D6777-547F-8745-ACAF-CDFFEFC12F65}" srcOrd="0" destOrd="0" presId="urn:microsoft.com/office/officeart/2005/8/layout/cycle7"/>
    <dgm:cxn modelId="{C837F140-9F06-4D5F-B2F1-31585EC2F419}" type="presOf" srcId="{45AFC1F1-C9E4-5B41-BB84-D43C25BC6444}" destId="{2AED067B-A8E9-A947-B114-AD96599B5715}" srcOrd="0" destOrd="0" presId="urn:microsoft.com/office/officeart/2005/8/layout/cycle7"/>
    <dgm:cxn modelId="{52362F48-DE53-4C4D-AAEE-8264AAC1AD13}" srcId="{2AD3AD67-B67A-6A49-933E-C718C8F3BE19}" destId="{3109D72B-B3DF-524F-9F12-CA1A0523FADA}" srcOrd="1" destOrd="0" parTransId="{3C71218A-50C7-AC41-B385-3AE8127B7367}" sibTransId="{D044519D-8F09-B141-9078-A8592DEFD43E}"/>
    <dgm:cxn modelId="{0D903D05-064A-42D1-88DA-E038F295D225}" type="presOf" srcId="{366D63DF-CCCA-5143-B944-54AA772E3412}" destId="{87271990-1414-1A46-BF78-9EFE231AE4ED}" srcOrd="0" destOrd="0" presId="urn:microsoft.com/office/officeart/2005/8/layout/cycle7"/>
    <dgm:cxn modelId="{B1662BA1-7EAE-A24F-8378-20DA59525DD6}" srcId="{2AD3AD67-B67A-6A49-933E-C718C8F3BE19}" destId="{025BF8C6-DB3E-BF4B-B443-A775D3B654A7}" srcOrd="0" destOrd="0" parTransId="{4A44EFC3-9EC5-0D44-A462-78116B80A839}" sibTransId="{45AFC1F1-C9E4-5B41-BB84-D43C25BC6444}"/>
    <dgm:cxn modelId="{B1CCDA6C-C640-475E-A860-559E68D6DFFF}" type="presOf" srcId="{6AEB5097-567D-B24D-9E5D-28706A9B89FD}" destId="{859EE1FB-8E61-9041-9F9E-7E87098323C5}" srcOrd="1" destOrd="0" presId="urn:microsoft.com/office/officeart/2005/8/layout/cycle7"/>
    <dgm:cxn modelId="{45069EE3-F772-4921-ABCB-7663EA812312}" type="presOf" srcId="{45AFC1F1-C9E4-5B41-BB84-D43C25BC6444}" destId="{9406D266-A997-234D-8874-0ADCAEB1AF04}" srcOrd="1" destOrd="0" presId="urn:microsoft.com/office/officeart/2005/8/layout/cycle7"/>
    <dgm:cxn modelId="{A35480DD-065B-43E4-8F88-17C95617379A}" type="presOf" srcId="{D044519D-8F09-B141-9078-A8592DEFD43E}" destId="{678D17D2-9046-FF43-8767-0D14C7460A54}" srcOrd="1" destOrd="0" presId="urn:microsoft.com/office/officeart/2005/8/layout/cycle7"/>
    <dgm:cxn modelId="{3BB98576-94B5-4F6C-9854-F3F245588E0A}" type="presOf" srcId="{2AD3AD67-B67A-6A49-933E-C718C8F3BE19}" destId="{26E4B79D-FC28-BB40-93F7-F2AB08F8C90F}" srcOrd="0" destOrd="0" presId="urn:microsoft.com/office/officeart/2005/8/layout/cycle7"/>
    <dgm:cxn modelId="{DEABB922-3EF1-40AE-A374-420A13DF1FC7}" type="presOf" srcId="{D044519D-8F09-B141-9078-A8592DEFD43E}" destId="{408EC7C9-EA76-794F-A58F-DA2026357C1D}" srcOrd="0" destOrd="0" presId="urn:microsoft.com/office/officeart/2005/8/layout/cycle7"/>
    <dgm:cxn modelId="{BE25780C-9EC6-2046-ACF4-BF98FF1EC557}" srcId="{2AD3AD67-B67A-6A49-933E-C718C8F3BE19}" destId="{944C87C9-DECD-614D-A759-3FDE70D6F610}" srcOrd="2" destOrd="0" parTransId="{984F7BE4-53CB-894D-99FF-1E11E48AE5A3}" sibTransId="{366D63DF-CCCA-5143-B944-54AA772E3412}"/>
    <dgm:cxn modelId="{E41FFEDE-F01B-41F9-B372-5CD460470C7F}" type="presOf" srcId="{3109D72B-B3DF-524F-9F12-CA1A0523FADA}" destId="{4B18A294-2EDC-FE4F-9C77-D1985D3ED37C}" srcOrd="0" destOrd="0" presId="urn:microsoft.com/office/officeart/2005/8/layout/cycle7"/>
    <dgm:cxn modelId="{E9D7AB07-121B-4EB4-ACFB-EC3BA4FAE665}" type="presOf" srcId="{025BF8C6-DB3E-BF4B-B443-A775D3B654A7}" destId="{BBB7F2E3-CEE7-0349-B429-D03940C2DE50}" srcOrd="0" destOrd="0" presId="urn:microsoft.com/office/officeart/2005/8/layout/cycle7"/>
    <dgm:cxn modelId="{E7C7456E-675D-4F74-9569-2FA490F5BD03}" type="presOf" srcId="{366D63DF-CCCA-5143-B944-54AA772E3412}" destId="{5B5A3B74-DCF5-2C4A-8170-4FD883F53DC6}" srcOrd="1" destOrd="0" presId="urn:microsoft.com/office/officeart/2005/8/layout/cycle7"/>
    <dgm:cxn modelId="{D01B850D-AB89-4B3C-A0A5-1816BAE45F33}" type="presOf" srcId="{6AEB5097-567D-B24D-9E5D-28706A9B89FD}" destId="{4C41A735-DEE8-3A4A-B2C2-A18533F8CB71}" srcOrd="0" destOrd="0" presId="urn:microsoft.com/office/officeart/2005/8/layout/cycle7"/>
    <dgm:cxn modelId="{0E30ADE0-97A3-4E45-9CAE-67BB61099E6E}" type="presParOf" srcId="{26E4B79D-FC28-BB40-93F7-F2AB08F8C90F}" destId="{BBB7F2E3-CEE7-0349-B429-D03940C2DE50}" srcOrd="0" destOrd="0" presId="urn:microsoft.com/office/officeart/2005/8/layout/cycle7"/>
    <dgm:cxn modelId="{3D798A82-A20C-4F82-BE08-81AB87C168B7}" type="presParOf" srcId="{26E4B79D-FC28-BB40-93F7-F2AB08F8C90F}" destId="{2AED067B-A8E9-A947-B114-AD96599B5715}" srcOrd="1" destOrd="0" presId="urn:microsoft.com/office/officeart/2005/8/layout/cycle7"/>
    <dgm:cxn modelId="{CC35381D-63E3-465F-8066-17A7773BB76B}" type="presParOf" srcId="{2AED067B-A8E9-A947-B114-AD96599B5715}" destId="{9406D266-A997-234D-8874-0ADCAEB1AF04}" srcOrd="0" destOrd="0" presId="urn:microsoft.com/office/officeart/2005/8/layout/cycle7"/>
    <dgm:cxn modelId="{15ACAB03-0508-4A7B-B732-D3D1966EDE84}" type="presParOf" srcId="{26E4B79D-FC28-BB40-93F7-F2AB08F8C90F}" destId="{4B18A294-2EDC-FE4F-9C77-D1985D3ED37C}" srcOrd="2" destOrd="0" presId="urn:microsoft.com/office/officeart/2005/8/layout/cycle7"/>
    <dgm:cxn modelId="{6CEB2945-3927-43A9-854D-AF062D770F28}" type="presParOf" srcId="{26E4B79D-FC28-BB40-93F7-F2AB08F8C90F}" destId="{408EC7C9-EA76-794F-A58F-DA2026357C1D}" srcOrd="3" destOrd="0" presId="urn:microsoft.com/office/officeart/2005/8/layout/cycle7"/>
    <dgm:cxn modelId="{71C7B7FD-D262-4ECB-B560-C5F4F8464BED}" type="presParOf" srcId="{408EC7C9-EA76-794F-A58F-DA2026357C1D}" destId="{678D17D2-9046-FF43-8767-0D14C7460A54}" srcOrd="0" destOrd="0" presId="urn:microsoft.com/office/officeart/2005/8/layout/cycle7"/>
    <dgm:cxn modelId="{228EDEE3-D32F-4A7E-BCD0-8924F15EA380}" type="presParOf" srcId="{26E4B79D-FC28-BB40-93F7-F2AB08F8C90F}" destId="{ED5D6777-547F-8745-ACAF-CDFFEFC12F65}" srcOrd="4" destOrd="0" presId="urn:microsoft.com/office/officeart/2005/8/layout/cycle7"/>
    <dgm:cxn modelId="{2D389EA9-5902-4A21-8406-BA7F8A45F982}" type="presParOf" srcId="{26E4B79D-FC28-BB40-93F7-F2AB08F8C90F}" destId="{87271990-1414-1A46-BF78-9EFE231AE4ED}" srcOrd="5" destOrd="0" presId="urn:microsoft.com/office/officeart/2005/8/layout/cycle7"/>
    <dgm:cxn modelId="{3152DA9F-2BFA-46D4-B4E0-0D5BA04288B9}" type="presParOf" srcId="{87271990-1414-1A46-BF78-9EFE231AE4ED}" destId="{5B5A3B74-DCF5-2C4A-8170-4FD883F53DC6}" srcOrd="0" destOrd="0" presId="urn:microsoft.com/office/officeart/2005/8/layout/cycle7"/>
    <dgm:cxn modelId="{B25E3206-7946-4F48-8C4F-F93560B6FB8D}" type="presParOf" srcId="{26E4B79D-FC28-BB40-93F7-F2AB08F8C90F}" destId="{0B339C76-E272-034E-9549-18A374B46701}" srcOrd="6" destOrd="0" presId="urn:microsoft.com/office/officeart/2005/8/layout/cycle7"/>
    <dgm:cxn modelId="{E16DF609-B9C3-485C-9041-3E48B5EDAB8B}" type="presParOf" srcId="{26E4B79D-FC28-BB40-93F7-F2AB08F8C90F}" destId="{4C41A735-DEE8-3A4A-B2C2-A18533F8CB71}" srcOrd="7" destOrd="0" presId="urn:microsoft.com/office/officeart/2005/8/layout/cycle7"/>
    <dgm:cxn modelId="{3623A652-A4B2-441A-BE45-973AD112BCDE}" type="presParOf" srcId="{4C41A735-DEE8-3A4A-B2C2-A18533F8CB71}" destId="{859EE1FB-8E61-9041-9F9E-7E87098323C5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D3AD67-B67A-6A49-933E-C718C8F3BE19}" type="doc">
      <dgm:prSet loTypeId="urn:microsoft.com/office/officeart/2005/8/layout/cycle7" loCatId="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pPr latinLnBrk="1"/>
          <a:endParaRPr lang="ko-KR" altLang="en-US"/>
        </a:p>
      </dgm:t>
    </dgm:pt>
    <dgm:pt modelId="{025BF8C6-DB3E-BF4B-B443-A775D3B654A7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44EFC3-9EC5-0D44-A462-78116B80A839}" type="parTrans" cxnId="{B1662BA1-7EAE-A24F-8378-20DA59525DD6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AFC1F1-C9E4-5B41-BB84-D43C25BC6444}" type="sibTrans" cxnId="{B1662BA1-7EAE-A24F-8378-20DA59525DD6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09D72B-B3DF-524F-9F12-CA1A0523FADA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71218A-50C7-AC41-B385-3AE8127B7367}" type="parTrans" cxnId="{52362F48-DE53-4C4D-AAEE-8264AAC1AD13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44519D-8F09-B141-9078-A8592DEFD43E}" type="sibTrans" cxnId="{52362F48-DE53-4C4D-AAEE-8264AAC1AD13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4C87C9-DECD-614D-A759-3FDE70D6F610}">
      <dgm:prSet phldrT="[텍스트]"/>
      <dgm:spPr/>
      <dgm:t>
        <a:bodyPr/>
        <a:lstStyle/>
        <a:p>
          <a:pPr latinLnBrk="1"/>
          <a:r>
            <a:rPr lang="en-US" altLang="ko-KR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84F7BE4-53CB-894D-99FF-1E11E48AE5A3}" type="parTrans" cxnId="{BE25780C-9EC6-2046-ACF4-BF98FF1EC557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6D63DF-CCCA-5143-B944-54AA772E3412}" type="sibTrans" cxnId="{BE25780C-9EC6-2046-ACF4-BF98FF1EC557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16FE9E-2999-3F46-B433-9E55BA5361EB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0DE649-764D-1F43-B51F-97C8D6227C2E}" type="parTrans" cxnId="{469A0C64-A88B-AC47-9B72-BA1E493BEA18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EB5097-567D-B24D-9E5D-28706A9B89FD}" type="sibTrans" cxnId="{469A0C64-A88B-AC47-9B72-BA1E493BEA18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E4B79D-FC28-BB40-93F7-F2AB08F8C90F}" type="pres">
      <dgm:prSet presAssocID="{2AD3AD67-B67A-6A49-933E-C718C8F3BE1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BB7F2E3-CEE7-0349-B429-D03940C2DE50}" type="pres">
      <dgm:prSet presAssocID="{025BF8C6-DB3E-BF4B-B443-A775D3B654A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AED067B-A8E9-A947-B114-AD96599B5715}" type="pres">
      <dgm:prSet presAssocID="{45AFC1F1-C9E4-5B41-BB84-D43C25BC6444}" presName="sibTrans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406D266-A997-234D-8874-0ADCAEB1AF04}" type="pres">
      <dgm:prSet presAssocID="{45AFC1F1-C9E4-5B41-BB84-D43C25BC6444}" presName="connectorText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4B18A294-2EDC-FE4F-9C77-D1985D3ED37C}" type="pres">
      <dgm:prSet presAssocID="{3109D72B-B3DF-524F-9F12-CA1A0523FADA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08EC7C9-EA76-794F-A58F-DA2026357C1D}" type="pres">
      <dgm:prSet presAssocID="{D044519D-8F09-B141-9078-A8592DEFD43E}" presName="sibTrans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678D17D2-9046-FF43-8767-0D14C7460A54}" type="pres">
      <dgm:prSet presAssocID="{D044519D-8F09-B141-9078-A8592DEFD43E}" presName="connectorText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ED5D6777-547F-8745-ACAF-CDFFEFC12F65}" type="pres">
      <dgm:prSet presAssocID="{944C87C9-DECD-614D-A759-3FDE70D6F610}" presName="node" presStyleLbl="node1" presStyleIdx="2" presStyleCnt="4" custRadScaleRad="103785" custRadScaleInc="19532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7271990-1414-1A46-BF78-9EFE231AE4ED}" type="pres">
      <dgm:prSet presAssocID="{366D63DF-CCCA-5143-B944-54AA772E3412}" presName="sibTrans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5B5A3B74-DCF5-2C4A-8170-4FD883F53DC6}" type="pres">
      <dgm:prSet presAssocID="{366D63DF-CCCA-5143-B944-54AA772E3412}" presName="connectorText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0B339C76-E272-034E-9549-18A374B46701}" type="pres">
      <dgm:prSet presAssocID="{5316FE9E-2999-3F46-B433-9E55BA5361EB}" presName="node" presStyleLbl="node1" presStyleIdx="3" presStyleCnt="4" custScaleX="100000" custRadScaleRad="94297" custRadScaleInc="-19758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C41A735-DEE8-3A4A-B2C2-A18533F8CB71}" type="pres">
      <dgm:prSet presAssocID="{6AEB5097-567D-B24D-9E5D-28706A9B89FD}" presName="sibTrans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59EE1FB-8E61-9041-9F9E-7E87098323C5}" type="pres">
      <dgm:prSet presAssocID="{6AEB5097-567D-B24D-9E5D-28706A9B89FD}" presName="connectorText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</dgm:ptLst>
  <dgm:cxnLst>
    <dgm:cxn modelId="{678DA219-26D0-4623-8D7B-E31240913C6D}" type="presOf" srcId="{45AFC1F1-C9E4-5B41-BB84-D43C25BC6444}" destId="{9406D266-A997-234D-8874-0ADCAEB1AF04}" srcOrd="1" destOrd="0" presId="urn:microsoft.com/office/officeart/2005/8/layout/cycle7"/>
    <dgm:cxn modelId="{0E2A1EDE-7F55-42F8-A432-000025D438D6}" type="presOf" srcId="{45AFC1F1-C9E4-5B41-BB84-D43C25BC6444}" destId="{2AED067B-A8E9-A947-B114-AD96599B5715}" srcOrd="0" destOrd="0" presId="urn:microsoft.com/office/officeart/2005/8/layout/cycle7"/>
    <dgm:cxn modelId="{D3BEEEA0-BF62-4F90-AD0A-BABF5A559132}" type="presOf" srcId="{366D63DF-CCCA-5143-B944-54AA772E3412}" destId="{87271990-1414-1A46-BF78-9EFE231AE4ED}" srcOrd="0" destOrd="0" presId="urn:microsoft.com/office/officeart/2005/8/layout/cycle7"/>
    <dgm:cxn modelId="{469A0C64-A88B-AC47-9B72-BA1E493BEA18}" srcId="{2AD3AD67-B67A-6A49-933E-C718C8F3BE19}" destId="{5316FE9E-2999-3F46-B433-9E55BA5361EB}" srcOrd="3" destOrd="0" parTransId="{E30DE649-764D-1F43-B51F-97C8D6227C2E}" sibTransId="{6AEB5097-567D-B24D-9E5D-28706A9B89FD}"/>
    <dgm:cxn modelId="{0D81F6AE-8181-4FEB-89AC-6B320B9E37B3}" type="presOf" srcId="{944C87C9-DECD-614D-A759-3FDE70D6F610}" destId="{ED5D6777-547F-8745-ACAF-CDFFEFC12F65}" srcOrd="0" destOrd="0" presId="urn:microsoft.com/office/officeart/2005/8/layout/cycle7"/>
    <dgm:cxn modelId="{9667A081-AD98-4A4A-920A-058A8D1D8506}" type="presOf" srcId="{025BF8C6-DB3E-BF4B-B443-A775D3B654A7}" destId="{BBB7F2E3-CEE7-0349-B429-D03940C2DE50}" srcOrd="0" destOrd="0" presId="urn:microsoft.com/office/officeart/2005/8/layout/cycle7"/>
    <dgm:cxn modelId="{52362F48-DE53-4C4D-AAEE-8264AAC1AD13}" srcId="{2AD3AD67-B67A-6A49-933E-C718C8F3BE19}" destId="{3109D72B-B3DF-524F-9F12-CA1A0523FADA}" srcOrd="1" destOrd="0" parTransId="{3C71218A-50C7-AC41-B385-3AE8127B7367}" sibTransId="{D044519D-8F09-B141-9078-A8592DEFD43E}"/>
    <dgm:cxn modelId="{B1662BA1-7EAE-A24F-8378-20DA59525DD6}" srcId="{2AD3AD67-B67A-6A49-933E-C718C8F3BE19}" destId="{025BF8C6-DB3E-BF4B-B443-A775D3B654A7}" srcOrd="0" destOrd="0" parTransId="{4A44EFC3-9EC5-0D44-A462-78116B80A839}" sibTransId="{45AFC1F1-C9E4-5B41-BB84-D43C25BC6444}"/>
    <dgm:cxn modelId="{D5EEA4C0-85DF-42C8-BACA-40EF67B66FE6}" type="presOf" srcId="{6AEB5097-567D-B24D-9E5D-28706A9B89FD}" destId="{4C41A735-DEE8-3A4A-B2C2-A18533F8CB71}" srcOrd="0" destOrd="0" presId="urn:microsoft.com/office/officeart/2005/8/layout/cycle7"/>
    <dgm:cxn modelId="{1B871145-A241-4C49-A5E7-61F4424B26DE}" type="presOf" srcId="{D044519D-8F09-B141-9078-A8592DEFD43E}" destId="{678D17D2-9046-FF43-8767-0D14C7460A54}" srcOrd="1" destOrd="0" presId="urn:microsoft.com/office/officeart/2005/8/layout/cycle7"/>
    <dgm:cxn modelId="{85830F75-50AF-45F7-92FB-58171FAF1BCB}" type="presOf" srcId="{D044519D-8F09-B141-9078-A8592DEFD43E}" destId="{408EC7C9-EA76-794F-A58F-DA2026357C1D}" srcOrd="0" destOrd="0" presId="urn:microsoft.com/office/officeart/2005/8/layout/cycle7"/>
    <dgm:cxn modelId="{61CEEDBD-7984-45D5-9CEB-E94A363FFC07}" type="presOf" srcId="{6AEB5097-567D-B24D-9E5D-28706A9B89FD}" destId="{859EE1FB-8E61-9041-9F9E-7E87098323C5}" srcOrd="1" destOrd="0" presId="urn:microsoft.com/office/officeart/2005/8/layout/cycle7"/>
    <dgm:cxn modelId="{07563998-6164-48EB-9215-1F5949633949}" type="presOf" srcId="{3109D72B-B3DF-524F-9F12-CA1A0523FADA}" destId="{4B18A294-2EDC-FE4F-9C77-D1985D3ED37C}" srcOrd="0" destOrd="0" presId="urn:microsoft.com/office/officeart/2005/8/layout/cycle7"/>
    <dgm:cxn modelId="{E6E4FB50-7001-497F-9F29-1C16E22481D5}" type="presOf" srcId="{366D63DF-CCCA-5143-B944-54AA772E3412}" destId="{5B5A3B74-DCF5-2C4A-8170-4FD883F53DC6}" srcOrd="1" destOrd="0" presId="urn:microsoft.com/office/officeart/2005/8/layout/cycle7"/>
    <dgm:cxn modelId="{BE25780C-9EC6-2046-ACF4-BF98FF1EC557}" srcId="{2AD3AD67-B67A-6A49-933E-C718C8F3BE19}" destId="{944C87C9-DECD-614D-A759-3FDE70D6F610}" srcOrd="2" destOrd="0" parTransId="{984F7BE4-53CB-894D-99FF-1E11E48AE5A3}" sibTransId="{366D63DF-CCCA-5143-B944-54AA772E3412}"/>
    <dgm:cxn modelId="{3179EFF8-3D83-42CF-9F93-5C4281748357}" type="presOf" srcId="{2AD3AD67-B67A-6A49-933E-C718C8F3BE19}" destId="{26E4B79D-FC28-BB40-93F7-F2AB08F8C90F}" srcOrd="0" destOrd="0" presId="urn:microsoft.com/office/officeart/2005/8/layout/cycle7"/>
    <dgm:cxn modelId="{E9CAB578-98E3-4231-BF12-C5B4EE6A7FC2}" type="presOf" srcId="{5316FE9E-2999-3F46-B433-9E55BA5361EB}" destId="{0B339C76-E272-034E-9549-18A374B46701}" srcOrd="0" destOrd="0" presId="urn:microsoft.com/office/officeart/2005/8/layout/cycle7"/>
    <dgm:cxn modelId="{D1865C2F-EFA8-451B-9F87-0F7A74B92141}" type="presParOf" srcId="{26E4B79D-FC28-BB40-93F7-F2AB08F8C90F}" destId="{BBB7F2E3-CEE7-0349-B429-D03940C2DE50}" srcOrd="0" destOrd="0" presId="urn:microsoft.com/office/officeart/2005/8/layout/cycle7"/>
    <dgm:cxn modelId="{B6CEB0F8-15A7-460B-9F79-ACE4AA96824F}" type="presParOf" srcId="{26E4B79D-FC28-BB40-93F7-F2AB08F8C90F}" destId="{2AED067B-A8E9-A947-B114-AD96599B5715}" srcOrd="1" destOrd="0" presId="urn:microsoft.com/office/officeart/2005/8/layout/cycle7"/>
    <dgm:cxn modelId="{0113BD3A-DC1B-4D9E-BA12-85A7FB9502EC}" type="presParOf" srcId="{2AED067B-A8E9-A947-B114-AD96599B5715}" destId="{9406D266-A997-234D-8874-0ADCAEB1AF04}" srcOrd="0" destOrd="0" presId="urn:microsoft.com/office/officeart/2005/8/layout/cycle7"/>
    <dgm:cxn modelId="{D4C5550C-8E17-4178-AF10-B55B8648EEA8}" type="presParOf" srcId="{26E4B79D-FC28-BB40-93F7-F2AB08F8C90F}" destId="{4B18A294-2EDC-FE4F-9C77-D1985D3ED37C}" srcOrd="2" destOrd="0" presId="urn:microsoft.com/office/officeart/2005/8/layout/cycle7"/>
    <dgm:cxn modelId="{544C9BCD-0BC4-4301-9894-24E35AD7BF39}" type="presParOf" srcId="{26E4B79D-FC28-BB40-93F7-F2AB08F8C90F}" destId="{408EC7C9-EA76-794F-A58F-DA2026357C1D}" srcOrd="3" destOrd="0" presId="urn:microsoft.com/office/officeart/2005/8/layout/cycle7"/>
    <dgm:cxn modelId="{F4628E90-1065-42B2-8C31-FE8406743962}" type="presParOf" srcId="{408EC7C9-EA76-794F-A58F-DA2026357C1D}" destId="{678D17D2-9046-FF43-8767-0D14C7460A54}" srcOrd="0" destOrd="0" presId="urn:microsoft.com/office/officeart/2005/8/layout/cycle7"/>
    <dgm:cxn modelId="{3866CF9A-B6DB-44D8-96FD-F0F2AE8640BF}" type="presParOf" srcId="{26E4B79D-FC28-BB40-93F7-F2AB08F8C90F}" destId="{ED5D6777-547F-8745-ACAF-CDFFEFC12F65}" srcOrd="4" destOrd="0" presId="urn:microsoft.com/office/officeart/2005/8/layout/cycle7"/>
    <dgm:cxn modelId="{4DE0E4FF-AE65-4FE3-BA6C-355DBF9DFAC2}" type="presParOf" srcId="{26E4B79D-FC28-BB40-93F7-F2AB08F8C90F}" destId="{87271990-1414-1A46-BF78-9EFE231AE4ED}" srcOrd="5" destOrd="0" presId="urn:microsoft.com/office/officeart/2005/8/layout/cycle7"/>
    <dgm:cxn modelId="{7A9EF83B-F413-4B6C-8F3C-181A6578E509}" type="presParOf" srcId="{87271990-1414-1A46-BF78-9EFE231AE4ED}" destId="{5B5A3B74-DCF5-2C4A-8170-4FD883F53DC6}" srcOrd="0" destOrd="0" presId="urn:microsoft.com/office/officeart/2005/8/layout/cycle7"/>
    <dgm:cxn modelId="{41EA5961-A0A0-4419-A8D8-50EAFC0A9B51}" type="presParOf" srcId="{26E4B79D-FC28-BB40-93F7-F2AB08F8C90F}" destId="{0B339C76-E272-034E-9549-18A374B46701}" srcOrd="6" destOrd="0" presId="urn:microsoft.com/office/officeart/2005/8/layout/cycle7"/>
    <dgm:cxn modelId="{BAEF143E-1883-44E8-81A2-8C7BB4CC97AB}" type="presParOf" srcId="{26E4B79D-FC28-BB40-93F7-F2AB08F8C90F}" destId="{4C41A735-DEE8-3A4A-B2C2-A18533F8CB71}" srcOrd="7" destOrd="0" presId="urn:microsoft.com/office/officeart/2005/8/layout/cycle7"/>
    <dgm:cxn modelId="{544DFFD2-7A86-4490-BDDB-1CFAECB02EDA}" type="presParOf" srcId="{4C41A735-DEE8-3A4A-B2C2-A18533F8CB71}" destId="{859EE1FB-8E61-9041-9F9E-7E87098323C5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AD3AD67-B67A-6A49-933E-C718C8F3BE19}" type="doc">
      <dgm:prSet loTypeId="urn:microsoft.com/office/officeart/2005/8/layout/cycle7" loCatId="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pPr latinLnBrk="1"/>
          <a:endParaRPr lang="ko-KR" altLang="en-US"/>
        </a:p>
      </dgm:t>
    </dgm:pt>
    <dgm:pt modelId="{025BF8C6-DB3E-BF4B-B443-A775D3B654A7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44EFC3-9EC5-0D44-A462-78116B80A839}" type="parTrans" cxnId="{B1662BA1-7EAE-A24F-8378-20DA59525DD6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AFC1F1-C9E4-5B41-BB84-D43C25BC6444}" type="sibTrans" cxnId="{B1662BA1-7EAE-A24F-8378-20DA59525DD6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09D72B-B3DF-524F-9F12-CA1A0523FADA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71218A-50C7-AC41-B385-3AE8127B7367}" type="parTrans" cxnId="{52362F48-DE53-4C4D-AAEE-8264AAC1AD13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44519D-8F09-B141-9078-A8592DEFD43E}" type="sibTrans" cxnId="{52362F48-DE53-4C4D-AAEE-8264AAC1AD13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4C87C9-DECD-614D-A759-3FDE70D6F610}">
      <dgm:prSet phldrT="[텍스트]"/>
      <dgm:spPr/>
      <dgm:t>
        <a:bodyPr/>
        <a:lstStyle/>
        <a:p>
          <a:pPr latinLnBrk="1"/>
          <a:r>
            <a:rPr lang="en-US" altLang="ko-KR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84F7BE4-53CB-894D-99FF-1E11E48AE5A3}" type="parTrans" cxnId="{BE25780C-9EC6-2046-ACF4-BF98FF1EC557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6D63DF-CCCA-5143-B944-54AA772E3412}" type="sibTrans" cxnId="{BE25780C-9EC6-2046-ACF4-BF98FF1EC557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16FE9E-2999-3F46-B433-9E55BA5361EB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0DE649-764D-1F43-B51F-97C8D6227C2E}" type="parTrans" cxnId="{469A0C64-A88B-AC47-9B72-BA1E493BEA18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EB5097-567D-B24D-9E5D-28706A9B89FD}" type="sibTrans" cxnId="{469A0C64-A88B-AC47-9B72-BA1E493BEA18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E4B79D-FC28-BB40-93F7-F2AB08F8C90F}" type="pres">
      <dgm:prSet presAssocID="{2AD3AD67-B67A-6A49-933E-C718C8F3BE1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BB7F2E3-CEE7-0349-B429-D03940C2DE50}" type="pres">
      <dgm:prSet presAssocID="{025BF8C6-DB3E-BF4B-B443-A775D3B654A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AED067B-A8E9-A947-B114-AD96599B5715}" type="pres">
      <dgm:prSet presAssocID="{45AFC1F1-C9E4-5B41-BB84-D43C25BC6444}" presName="sibTrans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406D266-A997-234D-8874-0ADCAEB1AF04}" type="pres">
      <dgm:prSet presAssocID="{45AFC1F1-C9E4-5B41-BB84-D43C25BC6444}" presName="connectorText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4B18A294-2EDC-FE4F-9C77-D1985D3ED37C}" type="pres">
      <dgm:prSet presAssocID="{3109D72B-B3DF-524F-9F12-CA1A0523FADA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08EC7C9-EA76-794F-A58F-DA2026357C1D}" type="pres">
      <dgm:prSet presAssocID="{D044519D-8F09-B141-9078-A8592DEFD43E}" presName="sibTrans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678D17D2-9046-FF43-8767-0D14C7460A54}" type="pres">
      <dgm:prSet presAssocID="{D044519D-8F09-B141-9078-A8592DEFD43E}" presName="connectorText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ED5D6777-547F-8745-ACAF-CDFFEFC12F65}" type="pres">
      <dgm:prSet presAssocID="{944C87C9-DECD-614D-A759-3FDE70D6F610}" presName="node" presStyleLbl="node1" presStyleIdx="2" presStyleCnt="4" custRadScaleRad="103785" custRadScaleInc="19532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7271990-1414-1A46-BF78-9EFE231AE4ED}" type="pres">
      <dgm:prSet presAssocID="{366D63DF-CCCA-5143-B944-54AA772E3412}" presName="sibTrans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5B5A3B74-DCF5-2C4A-8170-4FD883F53DC6}" type="pres">
      <dgm:prSet presAssocID="{366D63DF-CCCA-5143-B944-54AA772E3412}" presName="connectorText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0B339C76-E272-034E-9549-18A374B46701}" type="pres">
      <dgm:prSet presAssocID="{5316FE9E-2999-3F46-B433-9E55BA5361EB}" presName="node" presStyleLbl="node1" presStyleIdx="3" presStyleCnt="4" custScaleX="100000" custRadScaleRad="94297" custRadScaleInc="-19758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C41A735-DEE8-3A4A-B2C2-A18533F8CB71}" type="pres">
      <dgm:prSet presAssocID="{6AEB5097-567D-B24D-9E5D-28706A9B89FD}" presName="sibTrans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59EE1FB-8E61-9041-9F9E-7E87098323C5}" type="pres">
      <dgm:prSet presAssocID="{6AEB5097-567D-B24D-9E5D-28706A9B89FD}" presName="connectorText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</dgm:ptLst>
  <dgm:cxnLst>
    <dgm:cxn modelId="{469A0C64-A88B-AC47-9B72-BA1E493BEA18}" srcId="{2AD3AD67-B67A-6A49-933E-C718C8F3BE19}" destId="{5316FE9E-2999-3F46-B433-9E55BA5361EB}" srcOrd="3" destOrd="0" parTransId="{E30DE649-764D-1F43-B51F-97C8D6227C2E}" sibTransId="{6AEB5097-567D-B24D-9E5D-28706A9B89FD}"/>
    <dgm:cxn modelId="{52362F48-DE53-4C4D-AAEE-8264AAC1AD13}" srcId="{2AD3AD67-B67A-6A49-933E-C718C8F3BE19}" destId="{3109D72B-B3DF-524F-9F12-CA1A0523FADA}" srcOrd="1" destOrd="0" parTransId="{3C71218A-50C7-AC41-B385-3AE8127B7367}" sibTransId="{D044519D-8F09-B141-9078-A8592DEFD43E}"/>
    <dgm:cxn modelId="{4C80BE0F-C8E7-4745-BC8A-E71454EB2EC4}" type="presOf" srcId="{366D63DF-CCCA-5143-B944-54AA772E3412}" destId="{87271990-1414-1A46-BF78-9EFE231AE4ED}" srcOrd="0" destOrd="0" presId="urn:microsoft.com/office/officeart/2005/8/layout/cycle7"/>
    <dgm:cxn modelId="{B1662BA1-7EAE-A24F-8378-20DA59525DD6}" srcId="{2AD3AD67-B67A-6A49-933E-C718C8F3BE19}" destId="{025BF8C6-DB3E-BF4B-B443-A775D3B654A7}" srcOrd="0" destOrd="0" parTransId="{4A44EFC3-9EC5-0D44-A462-78116B80A839}" sibTransId="{45AFC1F1-C9E4-5B41-BB84-D43C25BC6444}"/>
    <dgm:cxn modelId="{FA3D0DCC-0AF2-47CE-985C-7D944A50E8B4}" type="presOf" srcId="{5316FE9E-2999-3F46-B433-9E55BA5361EB}" destId="{0B339C76-E272-034E-9549-18A374B46701}" srcOrd="0" destOrd="0" presId="urn:microsoft.com/office/officeart/2005/8/layout/cycle7"/>
    <dgm:cxn modelId="{3EBB3DE5-EA6F-471E-B98F-ADA49CD644CD}" type="presOf" srcId="{45AFC1F1-C9E4-5B41-BB84-D43C25BC6444}" destId="{9406D266-A997-234D-8874-0ADCAEB1AF04}" srcOrd="1" destOrd="0" presId="urn:microsoft.com/office/officeart/2005/8/layout/cycle7"/>
    <dgm:cxn modelId="{1569BEBB-E83E-4C93-87A5-2A7EA852428C}" type="presOf" srcId="{944C87C9-DECD-614D-A759-3FDE70D6F610}" destId="{ED5D6777-547F-8745-ACAF-CDFFEFC12F65}" srcOrd="0" destOrd="0" presId="urn:microsoft.com/office/officeart/2005/8/layout/cycle7"/>
    <dgm:cxn modelId="{F8567C0E-D8D5-46E2-9F44-1E92484F644D}" type="presOf" srcId="{6AEB5097-567D-B24D-9E5D-28706A9B89FD}" destId="{859EE1FB-8E61-9041-9F9E-7E87098323C5}" srcOrd="1" destOrd="0" presId="urn:microsoft.com/office/officeart/2005/8/layout/cycle7"/>
    <dgm:cxn modelId="{6D4E9AC7-0213-47C8-AD43-57DAA527BED3}" type="presOf" srcId="{45AFC1F1-C9E4-5B41-BB84-D43C25BC6444}" destId="{2AED067B-A8E9-A947-B114-AD96599B5715}" srcOrd="0" destOrd="0" presId="urn:microsoft.com/office/officeart/2005/8/layout/cycle7"/>
    <dgm:cxn modelId="{B2F4FB1E-F5EE-4F51-9102-DD1F23B6F891}" type="presOf" srcId="{6AEB5097-567D-B24D-9E5D-28706A9B89FD}" destId="{4C41A735-DEE8-3A4A-B2C2-A18533F8CB71}" srcOrd="0" destOrd="0" presId="urn:microsoft.com/office/officeart/2005/8/layout/cycle7"/>
    <dgm:cxn modelId="{C02E3873-7FE5-440F-8C55-D11D575783CC}" type="presOf" srcId="{3109D72B-B3DF-524F-9F12-CA1A0523FADA}" destId="{4B18A294-2EDC-FE4F-9C77-D1985D3ED37C}" srcOrd="0" destOrd="0" presId="urn:microsoft.com/office/officeart/2005/8/layout/cycle7"/>
    <dgm:cxn modelId="{BE1CD232-5475-49D6-A975-95C5B06F36E1}" type="presOf" srcId="{D044519D-8F09-B141-9078-A8592DEFD43E}" destId="{678D17D2-9046-FF43-8767-0D14C7460A54}" srcOrd="1" destOrd="0" presId="urn:microsoft.com/office/officeart/2005/8/layout/cycle7"/>
    <dgm:cxn modelId="{09648056-0354-43A0-AEF5-1315A6F799EC}" type="presOf" srcId="{366D63DF-CCCA-5143-B944-54AA772E3412}" destId="{5B5A3B74-DCF5-2C4A-8170-4FD883F53DC6}" srcOrd="1" destOrd="0" presId="urn:microsoft.com/office/officeart/2005/8/layout/cycle7"/>
    <dgm:cxn modelId="{BE25780C-9EC6-2046-ACF4-BF98FF1EC557}" srcId="{2AD3AD67-B67A-6A49-933E-C718C8F3BE19}" destId="{944C87C9-DECD-614D-A759-3FDE70D6F610}" srcOrd="2" destOrd="0" parTransId="{984F7BE4-53CB-894D-99FF-1E11E48AE5A3}" sibTransId="{366D63DF-CCCA-5143-B944-54AA772E3412}"/>
    <dgm:cxn modelId="{06341CC0-7939-4165-8870-C648A6765B8C}" type="presOf" srcId="{D044519D-8F09-B141-9078-A8592DEFD43E}" destId="{408EC7C9-EA76-794F-A58F-DA2026357C1D}" srcOrd="0" destOrd="0" presId="urn:microsoft.com/office/officeart/2005/8/layout/cycle7"/>
    <dgm:cxn modelId="{33B65AF4-5759-412C-ACD3-BC9150B713D0}" type="presOf" srcId="{2AD3AD67-B67A-6A49-933E-C718C8F3BE19}" destId="{26E4B79D-FC28-BB40-93F7-F2AB08F8C90F}" srcOrd="0" destOrd="0" presId="urn:microsoft.com/office/officeart/2005/8/layout/cycle7"/>
    <dgm:cxn modelId="{7E103B9D-CC45-4AE5-8547-1B981D218B44}" type="presOf" srcId="{025BF8C6-DB3E-BF4B-B443-A775D3B654A7}" destId="{BBB7F2E3-CEE7-0349-B429-D03940C2DE50}" srcOrd="0" destOrd="0" presId="urn:microsoft.com/office/officeart/2005/8/layout/cycle7"/>
    <dgm:cxn modelId="{335A3EB2-8DD4-4F0B-A767-8BA53E6246F8}" type="presParOf" srcId="{26E4B79D-FC28-BB40-93F7-F2AB08F8C90F}" destId="{BBB7F2E3-CEE7-0349-B429-D03940C2DE50}" srcOrd="0" destOrd="0" presId="urn:microsoft.com/office/officeart/2005/8/layout/cycle7"/>
    <dgm:cxn modelId="{825B6AFE-58C4-4039-B262-3BCBCEC4D506}" type="presParOf" srcId="{26E4B79D-FC28-BB40-93F7-F2AB08F8C90F}" destId="{2AED067B-A8E9-A947-B114-AD96599B5715}" srcOrd="1" destOrd="0" presId="urn:microsoft.com/office/officeart/2005/8/layout/cycle7"/>
    <dgm:cxn modelId="{5816C26C-6681-4CB4-8510-E118D7A78600}" type="presParOf" srcId="{2AED067B-A8E9-A947-B114-AD96599B5715}" destId="{9406D266-A997-234D-8874-0ADCAEB1AF04}" srcOrd="0" destOrd="0" presId="urn:microsoft.com/office/officeart/2005/8/layout/cycle7"/>
    <dgm:cxn modelId="{3A0BC9C7-58E3-44C1-818A-9AB9F054B490}" type="presParOf" srcId="{26E4B79D-FC28-BB40-93F7-F2AB08F8C90F}" destId="{4B18A294-2EDC-FE4F-9C77-D1985D3ED37C}" srcOrd="2" destOrd="0" presId="urn:microsoft.com/office/officeart/2005/8/layout/cycle7"/>
    <dgm:cxn modelId="{B45D8467-626F-4DF6-A6B5-3DF5A678F420}" type="presParOf" srcId="{26E4B79D-FC28-BB40-93F7-F2AB08F8C90F}" destId="{408EC7C9-EA76-794F-A58F-DA2026357C1D}" srcOrd="3" destOrd="0" presId="urn:microsoft.com/office/officeart/2005/8/layout/cycle7"/>
    <dgm:cxn modelId="{3CBCFBE1-9804-4E0E-914A-F14A06C8D8EC}" type="presParOf" srcId="{408EC7C9-EA76-794F-A58F-DA2026357C1D}" destId="{678D17D2-9046-FF43-8767-0D14C7460A54}" srcOrd="0" destOrd="0" presId="urn:microsoft.com/office/officeart/2005/8/layout/cycle7"/>
    <dgm:cxn modelId="{171DEC94-C089-4342-A45B-DED69BDCC308}" type="presParOf" srcId="{26E4B79D-FC28-BB40-93F7-F2AB08F8C90F}" destId="{ED5D6777-547F-8745-ACAF-CDFFEFC12F65}" srcOrd="4" destOrd="0" presId="urn:microsoft.com/office/officeart/2005/8/layout/cycle7"/>
    <dgm:cxn modelId="{7EABE92B-AD44-49C5-BEF0-57F69751A368}" type="presParOf" srcId="{26E4B79D-FC28-BB40-93F7-F2AB08F8C90F}" destId="{87271990-1414-1A46-BF78-9EFE231AE4ED}" srcOrd="5" destOrd="0" presId="urn:microsoft.com/office/officeart/2005/8/layout/cycle7"/>
    <dgm:cxn modelId="{9F077CC5-0F32-4D36-805B-167C74EFF521}" type="presParOf" srcId="{87271990-1414-1A46-BF78-9EFE231AE4ED}" destId="{5B5A3B74-DCF5-2C4A-8170-4FD883F53DC6}" srcOrd="0" destOrd="0" presId="urn:microsoft.com/office/officeart/2005/8/layout/cycle7"/>
    <dgm:cxn modelId="{C4D5C8D4-A0AA-49DF-9EA9-8E5AFD6EBE80}" type="presParOf" srcId="{26E4B79D-FC28-BB40-93F7-F2AB08F8C90F}" destId="{0B339C76-E272-034E-9549-18A374B46701}" srcOrd="6" destOrd="0" presId="urn:microsoft.com/office/officeart/2005/8/layout/cycle7"/>
    <dgm:cxn modelId="{E64E3A4C-E3FC-4716-8FCE-FC156EED519E}" type="presParOf" srcId="{26E4B79D-FC28-BB40-93F7-F2AB08F8C90F}" destId="{4C41A735-DEE8-3A4A-B2C2-A18533F8CB71}" srcOrd="7" destOrd="0" presId="urn:microsoft.com/office/officeart/2005/8/layout/cycle7"/>
    <dgm:cxn modelId="{68901F54-49C0-46D5-B292-8D3C27F80040}" type="presParOf" srcId="{4C41A735-DEE8-3A4A-B2C2-A18533F8CB71}" destId="{859EE1FB-8E61-9041-9F9E-7E87098323C5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AD3AD67-B67A-6A49-933E-C718C8F3BE19}" type="doc">
      <dgm:prSet loTypeId="urn:microsoft.com/office/officeart/2005/8/layout/cycle7" loCatId="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pPr latinLnBrk="1"/>
          <a:endParaRPr lang="ko-KR" altLang="en-US"/>
        </a:p>
      </dgm:t>
    </dgm:pt>
    <dgm:pt modelId="{025BF8C6-DB3E-BF4B-B443-A775D3B654A7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44EFC3-9EC5-0D44-A462-78116B80A839}" type="parTrans" cxnId="{B1662BA1-7EAE-A24F-8378-20DA59525DD6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AFC1F1-C9E4-5B41-BB84-D43C25BC6444}" type="sibTrans" cxnId="{B1662BA1-7EAE-A24F-8378-20DA59525DD6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09D72B-B3DF-524F-9F12-CA1A0523FADA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71218A-50C7-AC41-B385-3AE8127B7367}" type="parTrans" cxnId="{52362F48-DE53-4C4D-AAEE-8264AAC1AD13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44519D-8F09-B141-9078-A8592DEFD43E}" type="sibTrans" cxnId="{52362F48-DE53-4C4D-AAEE-8264AAC1AD13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4C87C9-DECD-614D-A759-3FDE70D6F610}">
      <dgm:prSet phldrT="[텍스트]"/>
      <dgm:spPr/>
      <dgm:t>
        <a:bodyPr/>
        <a:lstStyle/>
        <a:p>
          <a:pPr latinLnBrk="1"/>
          <a:r>
            <a:rPr lang="en-US" altLang="ko-KR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84F7BE4-53CB-894D-99FF-1E11E48AE5A3}" type="parTrans" cxnId="{BE25780C-9EC6-2046-ACF4-BF98FF1EC557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6D63DF-CCCA-5143-B944-54AA772E3412}" type="sibTrans" cxnId="{BE25780C-9EC6-2046-ACF4-BF98FF1EC557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16FE9E-2999-3F46-B433-9E55BA5361EB}">
      <dgm:prSet phldrT="[텍스트]"/>
      <dgm:spPr/>
      <dgm:t>
        <a:bodyPr/>
        <a:lstStyle/>
        <a:p>
          <a:pPr latinLnBrk="1"/>
          <a:r>
            <a:rPr lang="en-US" altLang="ko-KR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0DE649-764D-1F43-B51F-97C8D6227C2E}" type="parTrans" cxnId="{469A0C64-A88B-AC47-9B72-BA1E493BEA18}">
      <dgm:prSet/>
      <dgm:spPr/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EB5097-567D-B24D-9E5D-28706A9B89FD}" type="sibTrans" cxnId="{469A0C64-A88B-AC47-9B72-BA1E493BEA18}">
      <dgm:prSet/>
      <dgm:spPr>
        <a:noFill/>
      </dgm:spPr>
      <dgm:t>
        <a:bodyPr/>
        <a:lstStyle/>
        <a:p>
          <a:pPr latinLnBrk="1"/>
          <a:endParaRPr lang="ko-KR" alt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E4B79D-FC28-BB40-93F7-F2AB08F8C90F}" type="pres">
      <dgm:prSet presAssocID="{2AD3AD67-B67A-6A49-933E-C718C8F3BE1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BB7F2E3-CEE7-0349-B429-D03940C2DE50}" type="pres">
      <dgm:prSet presAssocID="{025BF8C6-DB3E-BF4B-B443-A775D3B654A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AED067B-A8E9-A947-B114-AD96599B5715}" type="pres">
      <dgm:prSet presAssocID="{45AFC1F1-C9E4-5B41-BB84-D43C25BC6444}" presName="sibTrans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406D266-A997-234D-8874-0ADCAEB1AF04}" type="pres">
      <dgm:prSet presAssocID="{45AFC1F1-C9E4-5B41-BB84-D43C25BC6444}" presName="connectorText" presStyleLbl="sibTrans2D1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4B18A294-2EDC-FE4F-9C77-D1985D3ED37C}" type="pres">
      <dgm:prSet presAssocID="{3109D72B-B3DF-524F-9F12-CA1A0523FADA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08EC7C9-EA76-794F-A58F-DA2026357C1D}" type="pres">
      <dgm:prSet presAssocID="{D044519D-8F09-B141-9078-A8592DEFD43E}" presName="sibTrans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678D17D2-9046-FF43-8767-0D14C7460A54}" type="pres">
      <dgm:prSet presAssocID="{D044519D-8F09-B141-9078-A8592DEFD43E}" presName="connectorText" presStyleLbl="sibTrans2D1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ED5D6777-547F-8745-ACAF-CDFFEFC12F65}" type="pres">
      <dgm:prSet presAssocID="{944C87C9-DECD-614D-A759-3FDE70D6F610}" presName="node" presStyleLbl="node1" presStyleIdx="2" presStyleCnt="4" custRadScaleRad="103785" custRadScaleInc="19532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7271990-1414-1A46-BF78-9EFE231AE4ED}" type="pres">
      <dgm:prSet presAssocID="{366D63DF-CCCA-5143-B944-54AA772E3412}" presName="sibTrans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5B5A3B74-DCF5-2C4A-8170-4FD883F53DC6}" type="pres">
      <dgm:prSet presAssocID="{366D63DF-CCCA-5143-B944-54AA772E3412}" presName="connectorText" presStyleLbl="sibTrans2D1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0B339C76-E272-034E-9549-18A374B46701}" type="pres">
      <dgm:prSet presAssocID="{5316FE9E-2999-3F46-B433-9E55BA5361EB}" presName="node" presStyleLbl="node1" presStyleIdx="3" presStyleCnt="4" custScaleX="100000" custRadScaleRad="94297" custRadScaleInc="-197589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C41A735-DEE8-3A4A-B2C2-A18533F8CB71}" type="pres">
      <dgm:prSet presAssocID="{6AEB5097-567D-B24D-9E5D-28706A9B89FD}" presName="sibTrans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59EE1FB-8E61-9041-9F9E-7E87098323C5}" type="pres">
      <dgm:prSet presAssocID="{6AEB5097-567D-B24D-9E5D-28706A9B89FD}" presName="connectorText" presStyleLbl="sibTrans2D1" presStyleIdx="3" presStyleCnt="4"/>
      <dgm:spPr/>
      <dgm:t>
        <a:bodyPr/>
        <a:lstStyle/>
        <a:p>
          <a:pPr latinLnBrk="1"/>
          <a:endParaRPr lang="ko-KR" altLang="en-US"/>
        </a:p>
      </dgm:t>
    </dgm:pt>
  </dgm:ptLst>
  <dgm:cxnLst>
    <dgm:cxn modelId="{308C5D0D-165C-4F54-B71C-AF4C3A250071}" type="presOf" srcId="{944C87C9-DECD-614D-A759-3FDE70D6F610}" destId="{ED5D6777-547F-8745-ACAF-CDFFEFC12F65}" srcOrd="0" destOrd="0" presId="urn:microsoft.com/office/officeart/2005/8/layout/cycle7"/>
    <dgm:cxn modelId="{469A0C64-A88B-AC47-9B72-BA1E493BEA18}" srcId="{2AD3AD67-B67A-6A49-933E-C718C8F3BE19}" destId="{5316FE9E-2999-3F46-B433-9E55BA5361EB}" srcOrd="3" destOrd="0" parTransId="{E30DE649-764D-1F43-B51F-97C8D6227C2E}" sibTransId="{6AEB5097-567D-B24D-9E5D-28706A9B89FD}"/>
    <dgm:cxn modelId="{BDD44D5E-514B-4EDB-8B33-0C6A5C641740}" type="presOf" srcId="{366D63DF-CCCA-5143-B944-54AA772E3412}" destId="{87271990-1414-1A46-BF78-9EFE231AE4ED}" srcOrd="0" destOrd="0" presId="urn:microsoft.com/office/officeart/2005/8/layout/cycle7"/>
    <dgm:cxn modelId="{FEC0BF6A-C985-45CA-8340-72230DB61E1D}" type="presOf" srcId="{3109D72B-B3DF-524F-9F12-CA1A0523FADA}" destId="{4B18A294-2EDC-FE4F-9C77-D1985D3ED37C}" srcOrd="0" destOrd="0" presId="urn:microsoft.com/office/officeart/2005/8/layout/cycle7"/>
    <dgm:cxn modelId="{EF0D4BAA-5DF5-4AE5-AE52-F944123F544D}" type="presOf" srcId="{2AD3AD67-B67A-6A49-933E-C718C8F3BE19}" destId="{26E4B79D-FC28-BB40-93F7-F2AB08F8C90F}" srcOrd="0" destOrd="0" presId="urn:microsoft.com/office/officeart/2005/8/layout/cycle7"/>
    <dgm:cxn modelId="{52362F48-DE53-4C4D-AAEE-8264AAC1AD13}" srcId="{2AD3AD67-B67A-6A49-933E-C718C8F3BE19}" destId="{3109D72B-B3DF-524F-9F12-CA1A0523FADA}" srcOrd="1" destOrd="0" parTransId="{3C71218A-50C7-AC41-B385-3AE8127B7367}" sibTransId="{D044519D-8F09-B141-9078-A8592DEFD43E}"/>
    <dgm:cxn modelId="{B1662BA1-7EAE-A24F-8378-20DA59525DD6}" srcId="{2AD3AD67-B67A-6A49-933E-C718C8F3BE19}" destId="{025BF8C6-DB3E-BF4B-B443-A775D3B654A7}" srcOrd="0" destOrd="0" parTransId="{4A44EFC3-9EC5-0D44-A462-78116B80A839}" sibTransId="{45AFC1F1-C9E4-5B41-BB84-D43C25BC6444}"/>
    <dgm:cxn modelId="{92FFF0A8-6435-46C3-BBE9-E3D4E307B61A}" type="presOf" srcId="{45AFC1F1-C9E4-5B41-BB84-D43C25BC6444}" destId="{2AED067B-A8E9-A947-B114-AD96599B5715}" srcOrd="0" destOrd="0" presId="urn:microsoft.com/office/officeart/2005/8/layout/cycle7"/>
    <dgm:cxn modelId="{97619DC9-4686-4F33-8281-3F26847009D3}" type="presOf" srcId="{5316FE9E-2999-3F46-B433-9E55BA5361EB}" destId="{0B339C76-E272-034E-9549-18A374B46701}" srcOrd="0" destOrd="0" presId="urn:microsoft.com/office/officeart/2005/8/layout/cycle7"/>
    <dgm:cxn modelId="{47E57A04-821A-4562-A012-79D60CD37FE7}" type="presOf" srcId="{6AEB5097-567D-B24D-9E5D-28706A9B89FD}" destId="{859EE1FB-8E61-9041-9F9E-7E87098323C5}" srcOrd="1" destOrd="0" presId="urn:microsoft.com/office/officeart/2005/8/layout/cycle7"/>
    <dgm:cxn modelId="{7840EEAB-1D88-4B70-A0DA-CC3285E39A8D}" type="presOf" srcId="{6AEB5097-567D-B24D-9E5D-28706A9B89FD}" destId="{4C41A735-DEE8-3A4A-B2C2-A18533F8CB71}" srcOrd="0" destOrd="0" presId="urn:microsoft.com/office/officeart/2005/8/layout/cycle7"/>
    <dgm:cxn modelId="{3E6100D9-C2DB-4962-9C5E-0C88B4AB07CE}" type="presOf" srcId="{025BF8C6-DB3E-BF4B-B443-A775D3B654A7}" destId="{BBB7F2E3-CEE7-0349-B429-D03940C2DE50}" srcOrd="0" destOrd="0" presId="urn:microsoft.com/office/officeart/2005/8/layout/cycle7"/>
    <dgm:cxn modelId="{6431EB99-40CE-41AC-A714-EF564AC9752B}" type="presOf" srcId="{45AFC1F1-C9E4-5B41-BB84-D43C25BC6444}" destId="{9406D266-A997-234D-8874-0ADCAEB1AF04}" srcOrd="1" destOrd="0" presId="urn:microsoft.com/office/officeart/2005/8/layout/cycle7"/>
    <dgm:cxn modelId="{D9E6CF3A-5380-4F6E-A8E1-D6F83B0592FD}" type="presOf" srcId="{366D63DF-CCCA-5143-B944-54AA772E3412}" destId="{5B5A3B74-DCF5-2C4A-8170-4FD883F53DC6}" srcOrd="1" destOrd="0" presId="urn:microsoft.com/office/officeart/2005/8/layout/cycle7"/>
    <dgm:cxn modelId="{BE25780C-9EC6-2046-ACF4-BF98FF1EC557}" srcId="{2AD3AD67-B67A-6A49-933E-C718C8F3BE19}" destId="{944C87C9-DECD-614D-A759-3FDE70D6F610}" srcOrd="2" destOrd="0" parTransId="{984F7BE4-53CB-894D-99FF-1E11E48AE5A3}" sibTransId="{366D63DF-CCCA-5143-B944-54AA772E3412}"/>
    <dgm:cxn modelId="{59CD3BDD-894F-4984-80EB-564BB5116FAD}" type="presOf" srcId="{D044519D-8F09-B141-9078-A8592DEFD43E}" destId="{678D17D2-9046-FF43-8767-0D14C7460A54}" srcOrd="1" destOrd="0" presId="urn:microsoft.com/office/officeart/2005/8/layout/cycle7"/>
    <dgm:cxn modelId="{4F6D3A60-402B-49BE-9467-5E3A960D0D2F}" type="presOf" srcId="{D044519D-8F09-B141-9078-A8592DEFD43E}" destId="{408EC7C9-EA76-794F-A58F-DA2026357C1D}" srcOrd="0" destOrd="0" presId="urn:microsoft.com/office/officeart/2005/8/layout/cycle7"/>
    <dgm:cxn modelId="{46285F55-533D-4E20-8969-E9CB4330D470}" type="presParOf" srcId="{26E4B79D-FC28-BB40-93F7-F2AB08F8C90F}" destId="{BBB7F2E3-CEE7-0349-B429-D03940C2DE50}" srcOrd="0" destOrd="0" presId="urn:microsoft.com/office/officeart/2005/8/layout/cycle7"/>
    <dgm:cxn modelId="{65A8997A-1DBA-4CB7-937D-CD066253F5BD}" type="presParOf" srcId="{26E4B79D-FC28-BB40-93F7-F2AB08F8C90F}" destId="{2AED067B-A8E9-A947-B114-AD96599B5715}" srcOrd="1" destOrd="0" presId="urn:microsoft.com/office/officeart/2005/8/layout/cycle7"/>
    <dgm:cxn modelId="{F079B9D3-F622-43BA-902C-A4472BDF2018}" type="presParOf" srcId="{2AED067B-A8E9-A947-B114-AD96599B5715}" destId="{9406D266-A997-234D-8874-0ADCAEB1AF04}" srcOrd="0" destOrd="0" presId="urn:microsoft.com/office/officeart/2005/8/layout/cycle7"/>
    <dgm:cxn modelId="{F62FEF2E-5002-4D06-942C-7C555642B6D3}" type="presParOf" srcId="{26E4B79D-FC28-BB40-93F7-F2AB08F8C90F}" destId="{4B18A294-2EDC-FE4F-9C77-D1985D3ED37C}" srcOrd="2" destOrd="0" presId="urn:microsoft.com/office/officeart/2005/8/layout/cycle7"/>
    <dgm:cxn modelId="{69F8DEBF-922A-43A8-A1A9-83D07E8C4C80}" type="presParOf" srcId="{26E4B79D-FC28-BB40-93F7-F2AB08F8C90F}" destId="{408EC7C9-EA76-794F-A58F-DA2026357C1D}" srcOrd="3" destOrd="0" presId="urn:microsoft.com/office/officeart/2005/8/layout/cycle7"/>
    <dgm:cxn modelId="{72D231D9-0C35-41F7-A42E-BD0FD17BE2EF}" type="presParOf" srcId="{408EC7C9-EA76-794F-A58F-DA2026357C1D}" destId="{678D17D2-9046-FF43-8767-0D14C7460A54}" srcOrd="0" destOrd="0" presId="urn:microsoft.com/office/officeart/2005/8/layout/cycle7"/>
    <dgm:cxn modelId="{65F3AEF5-DBDB-46F8-81E1-931842D5626B}" type="presParOf" srcId="{26E4B79D-FC28-BB40-93F7-F2AB08F8C90F}" destId="{ED5D6777-547F-8745-ACAF-CDFFEFC12F65}" srcOrd="4" destOrd="0" presId="urn:microsoft.com/office/officeart/2005/8/layout/cycle7"/>
    <dgm:cxn modelId="{A04D45D4-FBC1-472F-B423-3A0FEA6F32D2}" type="presParOf" srcId="{26E4B79D-FC28-BB40-93F7-F2AB08F8C90F}" destId="{87271990-1414-1A46-BF78-9EFE231AE4ED}" srcOrd="5" destOrd="0" presId="urn:microsoft.com/office/officeart/2005/8/layout/cycle7"/>
    <dgm:cxn modelId="{A32794A1-1EBC-432C-9739-0CA1D87DEE97}" type="presParOf" srcId="{87271990-1414-1A46-BF78-9EFE231AE4ED}" destId="{5B5A3B74-DCF5-2C4A-8170-4FD883F53DC6}" srcOrd="0" destOrd="0" presId="urn:microsoft.com/office/officeart/2005/8/layout/cycle7"/>
    <dgm:cxn modelId="{0CEF35EF-1F17-4B14-A15B-4DF33CCEE8CD}" type="presParOf" srcId="{26E4B79D-FC28-BB40-93F7-F2AB08F8C90F}" destId="{0B339C76-E272-034E-9549-18A374B46701}" srcOrd="6" destOrd="0" presId="urn:microsoft.com/office/officeart/2005/8/layout/cycle7"/>
    <dgm:cxn modelId="{085BA150-DD24-438D-8BDD-554748732DDB}" type="presParOf" srcId="{26E4B79D-FC28-BB40-93F7-F2AB08F8C90F}" destId="{4C41A735-DEE8-3A4A-B2C2-A18533F8CB71}" srcOrd="7" destOrd="0" presId="urn:microsoft.com/office/officeart/2005/8/layout/cycle7"/>
    <dgm:cxn modelId="{C01C2FFE-0A16-4B0E-BF57-B9C742684CA7}" type="presParOf" srcId="{4C41A735-DEE8-3A4A-B2C2-A18533F8CB71}" destId="{859EE1FB-8E61-9041-9F9E-7E87098323C5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B7F2E3-CEE7-0349-B429-D03940C2DE50}">
      <dsp:nvSpPr>
        <dsp:cNvPr id="0" name=""/>
        <dsp:cNvSpPr/>
      </dsp:nvSpPr>
      <dsp:spPr>
        <a:xfrm>
          <a:off x="2030983" y="1924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53535" y="24476"/>
        <a:ext cx="1494887" cy="724891"/>
      </dsp:txXfrm>
    </dsp:sp>
    <dsp:sp modelId="{2AED067B-A8E9-A947-B114-AD96599B5715}">
      <dsp:nvSpPr>
        <dsp:cNvPr id="0" name=""/>
        <dsp:cNvSpPr/>
      </dsp:nvSpPr>
      <dsp:spPr>
        <a:xfrm rot="2700000">
          <a:off x="3198111" y="992371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78960" y="1046271"/>
        <a:ext cx="524436" cy="161698"/>
      </dsp:txXfrm>
    </dsp:sp>
    <dsp:sp modelId="{4B18A294-2EDC-FE4F-9C77-D1985D3ED37C}">
      <dsp:nvSpPr>
        <dsp:cNvPr id="0" name=""/>
        <dsp:cNvSpPr/>
      </dsp:nvSpPr>
      <dsp:spPr>
        <a:xfrm>
          <a:off x="3511381" y="148232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3933" y="1504874"/>
        <a:ext cx="1494887" cy="724891"/>
      </dsp:txXfrm>
    </dsp:sp>
    <dsp:sp modelId="{408EC7C9-EA76-794F-A58F-DA2026357C1D}">
      <dsp:nvSpPr>
        <dsp:cNvPr id="0" name=""/>
        <dsp:cNvSpPr/>
      </dsp:nvSpPr>
      <dsp:spPr>
        <a:xfrm rot="10735729">
          <a:off x="2430413" y="176076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511262" y="1814665"/>
        <a:ext cx="524436" cy="161698"/>
      </dsp:txXfrm>
    </dsp:sp>
    <dsp:sp modelId="{ED5D6777-547F-8745-ACAF-CDFFEFC12F65}">
      <dsp:nvSpPr>
        <dsp:cNvPr id="0" name=""/>
        <dsp:cNvSpPr/>
      </dsp:nvSpPr>
      <dsp:spPr>
        <a:xfrm>
          <a:off x="495587" y="1538711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139" y="1561263"/>
        <a:ext cx="1494887" cy="724891"/>
      </dsp:txXfrm>
    </dsp:sp>
    <dsp:sp modelId="{87271990-1414-1A46-BF78-9EFE231AE4ED}">
      <dsp:nvSpPr>
        <dsp:cNvPr id="0" name=""/>
        <dsp:cNvSpPr/>
      </dsp:nvSpPr>
      <dsp:spPr>
        <a:xfrm rot="2495505">
          <a:off x="1676998" y="245862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57847" y="2512525"/>
        <a:ext cx="524436" cy="161698"/>
      </dsp:txXfrm>
    </dsp:sp>
    <dsp:sp modelId="{0B339C76-E272-034E-9549-18A374B46701}">
      <dsp:nvSpPr>
        <dsp:cNvPr id="0" name=""/>
        <dsp:cNvSpPr/>
      </dsp:nvSpPr>
      <dsp:spPr>
        <a:xfrm>
          <a:off x="2004551" y="287804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27103" y="2900594"/>
        <a:ext cx="1494887" cy="724891"/>
      </dsp:txXfrm>
    </dsp:sp>
    <dsp:sp modelId="{4C41A735-DEE8-3A4A-B2C2-A18533F8CB71}">
      <dsp:nvSpPr>
        <dsp:cNvPr id="0" name=""/>
        <dsp:cNvSpPr/>
      </dsp:nvSpPr>
      <dsp:spPr>
        <a:xfrm rot="16231593">
          <a:off x="2444696" y="1690232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25545" y="1744132"/>
        <a:ext cx="524436" cy="1616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B7F2E3-CEE7-0349-B429-D03940C2DE50}">
      <dsp:nvSpPr>
        <dsp:cNvPr id="0" name=""/>
        <dsp:cNvSpPr/>
      </dsp:nvSpPr>
      <dsp:spPr>
        <a:xfrm>
          <a:off x="2030983" y="1924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53535" y="24476"/>
        <a:ext cx="1494887" cy="724891"/>
      </dsp:txXfrm>
    </dsp:sp>
    <dsp:sp modelId="{2AED067B-A8E9-A947-B114-AD96599B5715}">
      <dsp:nvSpPr>
        <dsp:cNvPr id="0" name=""/>
        <dsp:cNvSpPr/>
      </dsp:nvSpPr>
      <dsp:spPr>
        <a:xfrm rot="2700000">
          <a:off x="3198111" y="992371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78960" y="1046271"/>
        <a:ext cx="524436" cy="161698"/>
      </dsp:txXfrm>
    </dsp:sp>
    <dsp:sp modelId="{4B18A294-2EDC-FE4F-9C77-D1985D3ED37C}">
      <dsp:nvSpPr>
        <dsp:cNvPr id="0" name=""/>
        <dsp:cNvSpPr/>
      </dsp:nvSpPr>
      <dsp:spPr>
        <a:xfrm>
          <a:off x="3511381" y="148232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3933" y="1504874"/>
        <a:ext cx="1494887" cy="724891"/>
      </dsp:txXfrm>
    </dsp:sp>
    <dsp:sp modelId="{408EC7C9-EA76-794F-A58F-DA2026357C1D}">
      <dsp:nvSpPr>
        <dsp:cNvPr id="0" name=""/>
        <dsp:cNvSpPr/>
      </dsp:nvSpPr>
      <dsp:spPr>
        <a:xfrm rot="10735729">
          <a:off x="2430413" y="176076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511262" y="1814665"/>
        <a:ext cx="524436" cy="161698"/>
      </dsp:txXfrm>
    </dsp:sp>
    <dsp:sp modelId="{ED5D6777-547F-8745-ACAF-CDFFEFC12F65}">
      <dsp:nvSpPr>
        <dsp:cNvPr id="0" name=""/>
        <dsp:cNvSpPr/>
      </dsp:nvSpPr>
      <dsp:spPr>
        <a:xfrm>
          <a:off x="495587" y="1538711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139" y="1561263"/>
        <a:ext cx="1494887" cy="724891"/>
      </dsp:txXfrm>
    </dsp:sp>
    <dsp:sp modelId="{87271990-1414-1A46-BF78-9EFE231AE4ED}">
      <dsp:nvSpPr>
        <dsp:cNvPr id="0" name=""/>
        <dsp:cNvSpPr/>
      </dsp:nvSpPr>
      <dsp:spPr>
        <a:xfrm rot="2495505">
          <a:off x="1676998" y="245862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57847" y="2512525"/>
        <a:ext cx="524436" cy="161698"/>
      </dsp:txXfrm>
    </dsp:sp>
    <dsp:sp modelId="{0B339C76-E272-034E-9549-18A374B46701}">
      <dsp:nvSpPr>
        <dsp:cNvPr id="0" name=""/>
        <dsp:cNvSpPr/>
      </dsp:nvSpPr>
      <dsp:spPr>
        <a:xfrm>
          <a:off x="2004551" y="287804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27103" y="2900594"/>
        <a:ext cx="1494887" cy="724891"/>
      </dsp:txXfrm>
    </dsp:sp>
    <dsp:sp modelId="{4C41A735-DEE8-3A4A-B2C2-A18533F8CB71}">
      <dsp:nvSpPr>
        <dsp:cNvPr id="0" name=""/>
        <dsp:cNvSpPr/>
      </dsp:nvSpPr>
      <dsp:spPr>
        <a:xfrm rot="16231593">
          <a:off x="2444696" y="1690232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25545" y="1744132"/>
        <a:ext cx="524436" cy="16169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B7F2E3-CEE7-0349-B429-D03940C2DE50}">
      <dsp:nvSpPr>
        <dsp:cNvPr id="0" name=""/>
        <dsp:cNvSpPr/>
      </dsp:nvSpPr>
      <dsp:spPr>
        <a:xfrm>
          <a:off x="2030983" y="1924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53535" y="24476"/>
        <a:ext cx="1494887" cy="724891"/>
      </dsp:txXfrm>
    </dsp:sp>
    <dsp:sp modelId="{2AED067B-A8E9-A947-B114-AD96599B5715}">
      <dsp:nvSpPr>
        <dsp:cNvPr id="0" name=""/>
        <dsp:cNvSpPr/>
      </dsp:nvSpPr>
      <dsp:spPr>
        <a:xfrm rot="2700000">
          <a:off x="3198111" y="992371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78960" y="1046271"/>
        <a:ext cx="524436" cy="161698"/>
      </dsp:txXfrm>
    </dsp:sp>
    <dsp:sp modelId="{4B18A294-2EDC-FE4F-9C77-D1985D3ED37C}">
      <dsp:nvSpPr>
        <dsp:cNvPr id="0" name=""/>
        <dsp:cNvSpPr/>
      </dsp:nvSpPr>
      <dsp:spPr>
        <a:xfrm>
          <a:off x="3511381" y="148232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3933" y="1504874"/>
        <a:ext cx="1494887" cy="724891"/>
      </dsp:txXfrm>
    </dsp:sp>
    <dsp:sp modelId="{408EC7C9-EA76-794F-A58F-DA2026357C1D}">
      <dsp:nvSpPr>
        <dsp:cNvPr id="0" name=""/>
        <dsp:cNvSpPr/>
      </dsp:nvSpPr>
      <dsp:spPr>
        <a:xfrm rot="10735729">
          <a:off x="2430413" y="176076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511262" y="1814665"/>
        <a:ext cx="524436" cy="161698"/>
      </dsp:txXfrm>
    </dsp:sp>
    <dsp:sp modelId="{ED5D6777-547F-8745-ACAF-CDFFEFC12F65}">
      <dsp:nvSpPr>
        <dsp:cNvPr id="0" name=""/>
        <dsp:cNvSpPr/>
      </dsp:nvSpPr>
      <dsp:spPr>
        <a:xfrm>
          <a:off x="495587" y="1538711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139" y="1561263"/>
        <a:ext cx="1494887" cy="724891"/>
      </dsp:txXfrm>
    </dsp:sp>
    <dsp:sp modelId="{87271990-1414-1A46-BF78-9EFE231AE4ED}">
      <dsp:nvSpPr>
        <dsp:cNvPr id="0" name=""/>
        <dsp:cNvSpPr/>
      </dsp:nvSpPr>
      <dsp:spPr>
        <a:xfrm rot="2495505">
          <a:off x="1676998" y="245862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57847" y="2512525"/>
        <a:ext cx="524436" cy="161698"/>
      </dsp:txXfrm>
    </dsp:sp>
    <dsp:sp modelId="{0B339C76-E272-034E-9549-18A374B46701}">
      <dsp:nvSpPr>
        <dsp:cNvPr id="0" name=""/>
        <dsp:cNvSpPr/>
      </dsp:nvSpPr>
      <dsp:spPr>
        <a:xfrm>
          <a:off x="2004551" y="287804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27103" y="2900594"/>
        <a:ext cx="1494887" cy="724891"/>
      </dsp:txXfrm>
    </dsp:sp>
    <dsp:sp modelId="{4C41A735-DEE8-3A4A-B2C2-A18533F8CB71}">
      <dsp:nvSpPr>
        <dsp:cNvPr id="0" name=""/>
        <dsp:cNvSpPr/>
      </dsp:nvSpPr>
      <dsp:spPr>
        <a:xfrm rot="16231593">
          <a:off x="2444696" y="1690232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25545" y="1744132"/>
        <a:ext cx="524436" cy="1616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B7F2E3-CEE7-0349-B429-D03940C2DE50}">
      <dsp:nvSpPr>
        <dsp:cNvPr id="0" name=""/>
        <dsp:cNvSpPr/>
      </dsp:nvSpPr>
      <dsp:spPr>
        <a:xfrm>
          <a:off x="2030983" y="1924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SKB CLOUD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53535" y="24476"/>
        <a:ext cx="1494887" cy="724891"/>
      </dsp:txXfrm>
    </dsp:sp>
    <dsp:sp modelId="{2AED067B-A8E9-A947-B114-AD96599B5715}">
      <dsp:nvSpPr>
        <dsp:cNvPr id="0" name=""/>
        <dsp:cNvSpPr/>
      </dsp:nvSpPr>
      <dsp:spPr>
        <a:xfrm rot="2700000">
          <a:off x="3198111" y="992371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78960" y="1046271"/>
        <a:ext cx="524436" cy="161698"/>
      </dsp:txXfrm>
    </dsp:sp>
    <dsp:sp modelId="{4B18A294-2EDC-FE4F-9C77-D1985D3ED37C}">
      <dsp:nvSpPr>
        <dsp:cNvPr id="0" name=""/>
        <dsp:cNvSpPr/>
      </dsp:nvSpPr>
      <dsp:spPr>
        <a:xfrm>
          <a:off x="3511381" y="148232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Local Serv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33933" y="1504874"/>
        <a:ext cx="1494887" cy="724891"/>
      </dsp:txXfrm>
    </dsp:sp>
    <dsp:sp modelId="{408EC7C9-EA76-794F-A58F-DA2026357C1D}">
      <dsp:nvSpPr>
        <dsp:cNvPr id="0" name=""/>
        <dsp:cNvSpPr/>
      </dsp:nvSpPr>
      <dsp:spPr>
        <a:xfrm rot="10735729">
          <a:off x="2430413" y="176076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511262" y="1814665"/>
        <a:ext cx="524436" cy="161698"/>
      </dsp:txXfrm>
    </dsp:sp>
    <dsp:sp modelId="{ED5D6777-547F-8745-ACAF-CDFFEFC12F65}">
      <dsp:nvSpPr>
        <dsp:cNvPr id="0" name=""/>
        <dsp:cNvSpPr/>
      </dsp:nvSpPr>
      <dsp:spPr>
        <a:xfrm>
          <a:off x="495587" y="1538711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 err="1">
              <a:latin typeface="Arial" panose="020B0604020202020204" pitchFamily="34" charset="0"/>
              <a:cs typeface="Arial" panose="020B0604020202020204" pitchFamily="34" charset="0"/>
            </a:rPr>
            <a:t>ClipCam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139" y="1561263"/>
        <a:ext cx="1494887" cy="724891"/>
      </dsp:txXfrm>
    </dsp:sp>
    <dsp:sp modelId="{87271990-1414-1A46-BF78-9EFE231AE4ED}">
      <dsp:nvSpPr>
        <dsp:cNvPr id="0" name=""/>
        <dsp:cNvSpPr/>
      </dsp:nvSpPr>
      <dsp:spPr>
        <a:xfrm rot="2495505">
          <a:off x="1676998" y="2458625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57847" y="2512525"/>
        <a:ext cx="524436" cy="161698"/>
      </dsp:txXfrm>
    </dsp:sp>
    <dsp:sp modelId="{0B339C76-E272-034E-9549-18A374B46701}">
      <dsp:nvSpPr>
        <dsp:cNvPr id="0" name=""/>
        <dsp:cNvSpPr/>
      </dsp:nvSpPr>
      <dsp:spPr>
        <a:xfrm>
          <a:off x="2004551" y="2878042"/>
          <a:ext cx="1539991" cy="7699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2100" kern="1200" dirty="0">
              <a:latin typeface="Arial" panose="020B0604020202020204" pitchFamily="34" charset="0"/>
              <a:cs typeface="Arial" panose="020B0604020202020204" pitchFamily="34" charset="0"/>
            </a:rPr>
            <a:t>User</a:t>
          </a:r>
          <a:endParaRPr lang="ko-KR" altLang="en-US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27103" y="2900594"/>
        <a:ext cx="1494887" cy="724891"/>
      </dsp:txXfrm>
    </dsp:sp>
    <dsp:sp modelId="{4C41A735-DEE8-3A4A-B2C2-A18533F8CB71}">
      <dsp:nvSpPr>
        <dsp:cNvPr id="0" name=""/>
        <dsp:cNvSpPr/>
      </dsp:nvSpPr>
      <dsp:spPr>
        <a:xfrm rot="16231593">
          <a:off x="2444696" y="1690232"/>
          <a:ext cx="686134" cy="269498"/>
        </a:xfrm>
        <a:prstGeom prst="left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25545" y="1744132"/>
        <a:ext cx="524436" cy="1616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7314055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>
          <a:xfrm>
            <a:off x="647700" y="641350"/>
            <a:ext cx="5545138" cy="3708400"/>
          </a:xfrm>
          <a:prstGeom prst="rect">
            <a:avLst/>
          </a:prstGeom>
          <a:noFill/>
          <a:ln w="12700">
            <a:noFill/>
            <a:miter/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sz="quarter" idx="3"/>
          </p:nvPr>
        </p:nvSpPr>
        <p:spPr>
          <a:xfrm>
            <a:off x="678655" y="4720415"/>
            <a:ext cx="5448305" cy="4472703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245" tIns="45635" rIns="91245" bIns="45635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4265972359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/>
        <a:ea typeface="굴림"/>
        <a:cs typeface="+mn-cs"/>
      </a:defRPr>
    </a:lvl1pPr>
    <a:lvl2pPr marL="430124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/>
        <a:ea typeface="굴림"/>
        <a:cs typeface="+mn-cs"/>
      </a:defRPr>
    </a:lvl2pPr>
    <a:lvl3pPr marL="861833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/>
        <a:ea typeface="굴림"/>
        <a:cs typeface="+mn-cs"/>
      </a:defRPr>
    </a:lvl3pPr>
    <a:lvl4pPr marL="1293544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/>
        <a:ea typeface="굴림"/>
        <a:cs typeface="+mn-cs"/>
      </a:defRPr>
    </a:lvl4pPr>
    <a:lvl5pPr marL="1725254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/>
        <a:ea typeface="굴림"/>
        <a:cs typeface="+mn-cs"/>
      </a:defRPr>
    </a:lvl5pPr>
    <a:lvl6pPr marL="2158300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89960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21621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53281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667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64829" y="2144999"/>
            <a:ext cx="7344403" cy="786495"/>
          </a:xfrm>
        </p:spPr>
        <p:txBody>
          <a:bodyPr/>
          <a:lstStyle>
            <a:lvl1pPr>
              <a:defRPr sz="3999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64829" y="2998522"/>
            <a:ext cx="7344403" cy="54071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ko-KR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빈 화면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24318" y="253228"/>
            <a:ext cx="6085497" cy="338134"/>
          </a:xfrm>
        </p:spPr>
        <p:txBody>
          <a:bodyPr/>
          <a:lstStyle>
            <a:lvl1pPr>
              <a:defRPr>
                <a:latin typeface="맑은 고딕"/>
                <a:ea typeface="맑은 고딕"/>
              </a:defRPr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4319" y="853536"/>
            <a:ext cx="9194544" cy="5402685"/>
          </a:xfrm>
        </p:spPr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defRPr b="1">
                <a:latin typeface="맑은 고딕"/>
                <a:ea typeface="맑은 고딕"/>
              </a:defRPr>
            </a:lvl1pPr>
            <a:lvl2pPr>
              <a:buNone/>
              <a:defRPr>
                <a:latin typeface="맑은 고딕"/>
                <a:ea typeface="맑은 고딕"/>
              </a:defRPr>
            </a:lvl2pPr>
            <a:lvl3pPr>
              <a:buNone/>
              <a:defRPr>
                <a:latin typeface="맑은 고딕"/>
                <a:ea typeface="맑은 고딕"/>
              </a:defRPr>
            </a:lvl3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빈 화면" type="blank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제목 슬라이드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2"/>
          <p:cNvSpPr txBox="1"/>
          <p:nvPr userDrawn="1"/>
        </p:nvSpPr>
        <p:spPr>
          <a:xfrm>
            <a:off x="9528835" y="6568638"/>
            <a:ext cx="714472" cy="260545"/>
          </a:xfrm>
          <a:prstGeom prst="rect">
            <a:avLst/>
          </a:prstGeom>
          <a:noFill/>
        </p:spPr>
        <p:txBody>
          <a:bodyPr lIns="81504" tIns="40752" rIns="81504" bIns="40752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1pPr>
            <a:lvl2pPr marL="430213" indent="269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2pPr>
            <a:lvl3pPr marL="862013" indent="523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3pPr>
            <a:lvl4pPr marL="1293813" indent="777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4pPr>
            <a:lvl5pPr marL="1725613" indent="1031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/>
                <a:ea typeface="굴림"/>
                <a:cs typeface="+mn-cs"/>
              </a:defRPr>
            </a:lvl9pPr>
          </a:lstStyle>
          <a:p>
            <a:pPr algn="r">
              <a:defRPr/>
            </a:pPr>
            <a:fld id="{7D266B0A-0B80-4459-AFDD-E987CF5BB83F}" type="slidenum">
              <a:rPr lang="ko-KR" altLang="en-US" sz="1100" b="0">
                <a:ea typeface="맑은 고딕"/>
              </a:rPr>
              <a:pPr algn="r">
                <a:defRPr/>
              </a:pPr>
              <a:t>‹#›</a:t>
            </a:fld>
            <a:endParaRPr lang="en-US" altLang="ko-KR" sz="1100" b="0">
              <a:ea typeface="맑은 고딕"/>
            </a:endParaRP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만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3001" y="6356352"/>
            <a:ext cx="2394003" cy="365125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05505" y="6356352"/>
            <a:ext cx="3249004" cy="365125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882118" y="6495768"/>
            <a:ext cx="2394003" cy="365125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fld id="{335433CF-02B4-455C-8DCE-EF200671B5D8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 lvl="0"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24318" y="253228"/>
            <a:ext cx="6085497" cy="338134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4319" y="853536"/>
            <a:ext cx="9194544" cy="5402685"/>
          </a:xfrm>
        </p:spPr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656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2"/>
          <p:cNvSpPr txBox="1"/>
          <p:nvPr userDrawn="1"/>
        </p:nvSpPr>
        <p:spPr>
          <a:xfrm>
            <a:off x="9528835" y="6568638"/>
            <a:ext cx="714472" cy="260545"/>
          </a:xfrm>
          <a:prstGeom prst="rect">
            <a:avLst/>
          </a:prstGeom>
          <a:noFill/>
        </p:spPr>
        <p:txBody>
          <a:bodyPr lIns="81504" tIns="40752" rIns="81504" bIns="40752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1pPr>
            <a:lvl2pPr marL="430213" indent="269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2pPr>
            <a:lvl3pPr marL="862013" indent="523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3pPr>
            <a:lvl4pPr marL="1293813" indent="777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4pPr>
            <a:lvl5pPr marL="1725613" indent="1031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9pPr>
          </a:lstStyle>
          <a:p>
            <a:pPr algn="r">
              <a:defRPr/>
            </a:pPr>
            <a:fld id="{7D266B0A-0B80-4459-AFDD-E987CF5BB83F}" type="slidenum">
              <a:rPr lang="ko-KR" altLang="en-US" sz="1100" b="0"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100" b="0" dirty="0"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947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3001" y="6356352"/>
            <a:ext cx="2394003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05505" y="6356352"/>
            <a:ext cx="3249004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882118" y="6495768"/>
            <a:ext cx="2394003" cy="365125"/>
          </a:xfrm>
          <a:prstGeom prst="rect">
            <a:avLst/>
          </a:prstGeom>
        </p:spPr>
        <p:txBody>
          <a:bodyPr/>
          <a:lstStyle/>
          <a:p>
            <a:fld id="{335433CF-02B4-455C-8DCE-EF200671B5D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384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5673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제목 슬라이드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64829" y="2144999"/>
            <a:ext cx="7344403" cy="786495"/>
          </a:xfrm>
        </p:spPr>
        <p:txBody>
          <a:bodyPr/>
          <a:lstStyle>
            <a:lvl1pPr>
              <a:defRPr sz="3999" smtClean="0">
                <a:latin typeface="맑은 고딕"/>
                <a:ea typeface="맑은 고딕"/>
              </a:defRPr>
            </a:lvl1pPr>
          </a:lstStyle>
          <a:p>
            <a:pPr lvl="0">
              <a:defRPr/>
            </a:pPr>
            <a:endParaRPr lang="ko-KR" altLang="en-US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64829" y="2998522"/>
            <a:ext cx="7344403" cy="540715"/>
          </a:xfrm>
        </p:spPr>
        <p:txBody>
          <a:bodyPr/>
          <a:lstStyle>
            <a:lvl1pPr marL="0" indent="0">
              <a:buFont typeface="Wingdings"/>
              <a:buNone/>
              <a:defRPr sz="2000" b="1" smtClean="0">
                <a:latin typeface="맑은 고딕"/>
                <a:ea typeface="맑은 고딕"/>
              </a:defRPr>
            </a:lvl1pPr>
          </a:lstStyle>
          <a:p>
            <a:pPr lvl="0">
              <a:defRPr/>
            </a:pPr>
            <a:endParaRPr lang="ko-KR" altLang="en-US"/>
          </a:p>
        </p:txBody>
      </p:sp>
    </p:spTree>
  </p:cSld>
  <p:clrMapOvr>
    <a:masterClrMapping/>
  </p:clrMapOvr>
  <p:transition/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/>
                <a:ea typeface="맑은 고딕"/>
              </a:defRPr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defRPr b="1">
                <a:latin typeface="맑은 고딕"/>
                <a:ea typeface="맑은 고딕"/>
              </a:defRPr>
            </a:lvl1pPr>
            <a:lvl2pPr>
              <a:buNone/>
              <a:defRPr>
                <a:latin typeface="맑은 고딕"/>
                <a:ea typeface="맑은 고딕"/>
              </a:defRPr>
            </a:lvl2pPr>
            <a:lvl3pPr>
              <a:buNone/>
              <a:defRPr>
                <a:latin typeface="맑은 고딕"/>
                <a:ea typeface="맑은 고딕"/>
              </a:defRPr>
            </a:lvl3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5" descr="1-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4793" y="10"/>
            <a:ext cx="10260014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4213" y="254000"/>
            <a:ext cx="6085306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Header Ling (Korean-</a:t>
            </a:r>
            <a:r>
              <a:rPr lang="ko-KR" altLang="en-US"/>
              <a:t>맑은고딕</a:t>
            </a:r>
            <a:r>
              <a:rPr lang="en-US" altLang="ko-KR"/>
              <a:t>, English-Arial font17)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4213" y="854082"/>
            <a:ext cx="9194550" cy="540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수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436256" y="6570664"/>
            <a:ext cx="753059" cy="265596"/>
          </a:xfrm>
          <a:prstGeom prst="rect">
            <a:avLst/>
          </a:prstGeom>
          <a:noFill/>
        </p:spPr>
        <p:txBody>
          <a:bodyPr lIns="86332" tIns="43166" rIns="86332" bIns="43166">
            <a:spAutoFit/>
          </a:bodyPr>
          <a:lstStyle/>
          <a:p>
            <a:pPr algn="r">
              <a:defRPr/>
            </a:pPr>
            <a:fld id="{7D266B0A-0B80-4459-AFDD-E987CF5BB83F}" type="slidenum">
              <a:rPr lang="ko-KR" altLang="en-US" sz="1100" b="1"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100" b="1" dirty="0">
              <a:ea typeface="맑은 고딕" pitchFamily="50" charset="-127"/>
            </a:endParaRPr>
          </a:p>
        </p:txBody>
      </p:sp>
      <p:pic>
        <p:nvPicPr>
          <p:cNvPr id="150530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1370" y="97973"/>
            <a:ext cx="1250771" cy="467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795" r:id="rId2"/>
    <p:sldLayoutId id="2147484796" r:id="rId3"/>
    <p:sldLayoutId id="2147484873" r:id="rId4"/>
    <p:sldLayoutId id="2147484880" r:id="rId5"/>
    <p:sldLayoutId id="2147484887" r:id="rId6"/>
    <p:sldLayoutId id="2147484892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2pPr>
      <a:lvl3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3pPr>
      <a:lvl4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4pPr>
      <a:lvl5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5pPr>
      <a:lvl6pPr marL="431624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863247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1294872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1726498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9pPr>
    </p:titleStyle>
    <p:bodyStyle>
      <a:lvl1pPr marL="176161" indent="-176161" algn="l" defTabSz="898264" rtl="0" eaLnBrk="0" fontAlgn="base" latinLnBrk="1" hangingPunct="0">
        <a:spcBef>
          <a:spcPct val="20000"/>
        </a:spcBef>
        <a:spcAft>
          <a:spcPct val="0"/>
        </a:spcAft>
        <a:buSzPct val="70000"/>
        <a:buFont typeface="Wingdings" pitchFamily="2" charset="2"/>
        <a:buChar char="l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434849" indent="-82525" algn="l" defTabSz="89826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796693" indent="-92048" algn="l" defTabSz="898264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233128" indent="-176161" algn="l" defTabSz="898264" rtl="0" eaLnBrk="0" fontAlgn="base" latinLnBrk="1" hangingPunct="0">
        <a:spcBef>
          <a:spcPct val="20000"/>
        </a:spcBef>
        <a:spcAft>
          <a:spcPct val="0"/>
        </a:spcAft>
        <a:buFont typeface="Optima" pitchFamily="2" charset="2"/>
        <a:buChar char="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2021885" indent="-223774" algn="l" defTabSz="898264" rtl="0" eaLnBrk="0" fontAlgn="base" latinLnBrk="1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Arial" pitchFamily="34" charset="0"/>
          <a:ea typeface="맑은 고딕" pitchFamily="50" charset="-127"/>
        </a:defRPr>
      </a:lvl5pPr>
      <a:lvl6pPr marL="2373932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6pPr>
      <a:lvl7pPr marL="2805555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7pPr>
      <a:lvl8pPr marL="3237180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8pPr>
      <a:lvl9pPr marL="3668799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624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24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487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49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811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8974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136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2991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 name="1_1_디자인 사용자 지정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5" descr="1-2"/>
          <p:cNvPicPr>
            <a:picLocks noChangeAspect="1" noChangeArrowheads="1"/>
          </p:cNvPicPr>
          <p:nvPr/>
        </p:nvPicPr>
        <p:blipFill rotWithShape="1">
          <a:blip r:embed="rId9"/>
          <a:srcRect/>
          <a:stretch>
            <a:fillRect/>
          </a:stretch>
        </p:blipFill>
        <p:spPr>
          <a:xfrm>
            <a:off x="-14793" y="10"/>
            <a:ext cx="10260014" cy="6856413"/>
          </a:xfrm>
          <a:prstGeom prst="rect">
            <a:avLst/>
          </a:prstGeom>
          <a:noFill/>
          <a:ln w="9525">
            <a:noFill/>
            <a:miter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>
          <a:xfrm>
            <a:off x="424213" y="254000"/>
            <a:ext cx="6085306" cy="3381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86332" tIns="43166" rIns="86332" bIns="43166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altLang="ko-KR"/>
              <a:t>Header Ling (Korean-</a:t>
            </a:r>
            <a:r>
              <a:rPr lang="ko-KR" altLang="en-US"/>
              <a:t>맑은고딕</a:t>
            </a:r>
            <a:r>
              <a:rPr lang="en-US" altLang="ko-KR"/>
              <a:t>, English-Arial font17)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24213" y="854082"/>
            <a:ext cx="9194550" cy="5402263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86332" tIns="43166" rIns="86332" bIns="43166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수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436256" y="6570664"/>
            <a:ext cx="753059" cy="265596"/>
          </a:xfrm>
          <a:prstGeom prst="rect">
            <a:avLst/>
          </a:prstGeom>
          <a:noFill/>
        </p:spPr>
        <p:txBody>
          <a:bodyPr lIns="86332" tIns="43166" rIns="86332" bIns="43166">
            <a:spAutoFit/>
          </a:bodyPr>
          <a:lstStyle/>
          <a:p>
            <a:pPr algn="r">
              <a:defRPr/>
            </a:pPr>
            <a:fld id="{7D266B0A-0B80-4459-AFDD-E987CF5BB83F}" type="slidenum">
              <a:rPr lang="ko-KR" altLang="en-US" sz="1100" b="1">
                <a:ea typeface="맑은 고딕"/>
              </a:rPr>
              <a:pPr algn="r">
                <a:defRPr/>
              </a:pPr>
              <a:t>‹#›</a:t>
            </a:fld>
            <a:endParaRPr lang="en-US" altLang="ko-KR" sz="1100" b="1">
              <a:ea typeface="맑은 고딕"/>
            </a:endParaRPr>
          </a:p>
        </p:txBody>
      </p:sp>
      <p:pic>
        <p:nvPicPr>
          <p:cNvPr id="150530" name="Picture 2"/>
          <p:cNvPicPr>
            <a:picLocks noChangeAspect="1" noChangeArrowheads="1"/>
          </p:cNvPicPr>
          <p:nvPr userDrawn="1"/>
        </p:nvPicPr>
        <p:blipFill rotWithShape="1">
          <a:blip r:embed="rId10"/>
          <a:srcRect/>
          <a:stretch>
            <a:fillRect/>
          </a:stretch>
        </p:blipFill>
        <p:spPr>
          <a:xfrm>
            <a:off x="8511370" y="97973"/>
            <a:ext cx="1250771" cy="467892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15" r:id="rId1"/>
    <p:sldLayoutId id="2147484916" r:id="rId2"/>
    <p:sldLayoutId id="2147484917" r:id="rId3"/>
    <p:sldLayoutId id="2147484918" r:id="rId4"/>
    <p:sldLayoutId id="2147484919" r:id="rId5"/>
    <p:sldLayoutId id="2147484920" r:id="rId6"/>
    <p:sldLayoutId id="2147484921" r:id="rId7"/>
  </p:sldLayoutIdLst>
  <p:transition/>
  <p:hf hdr="0" ftr="0"/>
  <p:txStyles>
    <p:titleStyle>
      <a:lvl1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/>
          <a:ea typeface="맑은 고딕"/>
          <a:cs typeface="+mj-cs"/>
        </a:defRPr>
      </a:lvl1pPr>
      <a:lvl2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/>
          <a:ea typeface="맑은 고딕"/>
        </a:defRPr>
      </a:lvl2pPr>
      <a:lvl3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/>
          <a:ea typeface="맑은 고딕"/>
        </a:defRPr>
      </a:lvl3pPr>
      <a:lvl4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/>
          <a:ea typeface="맑은 고딕"/>
        </a:defRPr>
      </a:lvl4pPr>
      <a:lvl5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/>
          <a:ea typeface="맑은 고딕"/>
        </a:defRPr>
      </a:lvl5pPr>
      <a:lvl6pPr marL="431624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/>
          <a:ea typeface="굴림"/>
        </a:defRPr>
      </a:lvl6pPr>
      <a:lvl7pPr marL="863247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/>
          <a:ea typeface="굴림"/>
        </a:defRPr>
      </a:lvl7pPr>
      <a:lvl8pPr marL="1294872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/>
          <a:ea typeface="굴림"/>
        </a:defRPr>
      </a:lvl8pPr>
      <a:lvl9pPr marL="1726498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/>
          <a:ea typeface="굴림"/>
        </a:defRPr>
      </a:lvl9pPr>
    </p:titleStyle>
    <p:bodyStyle>
      <a:lvl1pPr marL="176161" indent="-176161" algn="l" defTabSz="898264" rtl="0" eaLnBrk="0" fontAlgn="base" latinLnBrk="1" hangingPunct="0">
        <a:spcBef>
          <a:spcPct val="20000"/>
        </a:spcBef>
        <a:spcAft>
          <a:spcPct val="0"/>
        </a:spcAft>
        <a:buSzPct val="70000"/>
        <a:buFont typeface="Wingdings"/>
        <a:buChar char="l"/>
        <a:defRPr kumimoji="1" sz="1100">
          <a:solidFill>
            <a:schemeClr val="tx1"/>
          </a:solidFill>
          <a:latin typeface="맑은 고딕"/>
          <a:ea typeface="맑은 고딕"/>
          <a:cs typeface="+mn-cs"/>
        </a:defRPr>
      </a:lvl1pPr>
      <a:lvl2pPr marL="434849" indent="-82525" algn="l" defTabSz="89826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맑은 고딕"/>
          <a:ea typeface="맑은 고딕"/>
        </a:defRPr>
      </a:lvl2pPr>
      <a:lvl3pPr marL="796693" indent="-92048" algn="l" defTabSz="898264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100">
          <a:solidFill>
            <a:schemeClr val="tx1"/>
          </a:solidFill>
          <a:latin typeface="맑은 고딕"/>
          <a:ea typeface="맑은 고딕"/>
        </a:defRPr>
      </a:lvl3pPr>
      <a:lvl4pPr marL="1233128" indent="-176161" algn="l" defTabSz="898264" rtl="0" eaLnBrk="0" fontAlgn="base" latinLnBrk="1" hangingPunct="0">
        <a:spcBef>
          <a:spcPct val="20000"/>
        </a:spcBef>
        <a:spcAft>
          <a:spcPct val="0"/>
        </a:spcAft>
        <a:buFont typeface="Optima"/>
        <a:buChar char=""/>
        <a:defRPr kumimoji="1" sz="1100">
          <a:solidFill>
            <a:schemeClr val="tx1"/>
          </a:solidFill>
          <a:latin typeface="맑은 고딕"/>
          <a:ea typeface="맑은 고딕"/>
        </a:defRPr>
      </a:lvl4pPr>
      <a:lvl5pPr marL="2021885" indent="-223774" algn="l" defTabSz="898264" rtl="0" eaLnBrk="0" fontAlgn="base" latinLnBrk="1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Arial"/>
          <a:ea typeface="맑은 고딕"/>
        </a:defRPr>
      </a:lvl5pPr>
      <a:lvl6pPr marL="2373932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6pPr>
      <a:lvl7pPr marL="2805555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7pPr>
      <a:lvl8pPr marL="3237180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8pPr>
      <a:lvl9pPr marL="3668799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624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24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487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49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811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8974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136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2991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emf"/><Relationship Id="rId12" Type="http://schemas.microsoft.com/office/2007/relationships/diagramDrawing" Target="../diagrams/drawing1.xml"/><Relationship Id="rId2" Type="http://schemas.openxmlformats.org/officeDocument/2006/relationships/tags" Target="../tags/tag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diagramColors" Target="../diagrams/colors1.xml"/><Relationship Id="rId5" Type="http://schemas.openxmlformats.org/officeDocument/2006/relationships/image" Target="../media/image10.pn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9.png"/><Relationship Id="rId9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tiff"/><Relationship Id="rId13" Type="http://schemas.openxmlformats.org/officeDocument/2006/relationships/diagramColors" Target="../diagrams/colors2.xm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emf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diagramLayout" Target="../diagrams/layout2.xml"/><Relationship Id="rId5" Type="http://schemas.openxmlformats.org/officeDocument/2006/relationships/image" Target="../media/image10.png"/><Relationship Id="rId10" Type="http://schemas.openxmlformats.org/officeDocument/2006/relationships/diagramData" Target="../diagrams/data2.xml"/><Relationship Id="rId4" Type="http://schemas.openxmlformats.org/officeDocument/2006/relationships/image" Target="../media/image9.png"/><Relationship Id="rId9" Type="http://schemas.openxmlformats.org/officeDocument/2006/relationships/image" Target="../media/image20.tiff"/><Relationship Id="rId14" Type="http://schemas.microsoft.com/office/2007/relationships/diagramDrawing" Target="../diagrams/drawing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emf"/><Relationship Id="rId12" Type="http://schemas.microsoft.com/office/2007/relationships/diagramDrawing" Target="../diagrams/drawing3.xml"/><Relationship Id="rId2" Type="http://schemas.openxmlformats.org/officeDocument/2006/relationships/tags" Target="../tags/tag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diagramColors" Target="../diagrams/colors3.xml"/><Relationship Id="rId5" Type="http://schemas.openxmlformats.org/officeDocument/2006/relationships/image" Target="../media/image10.png"/><Relationship Id="rId10" Type="http://schemas.openxmlformats.org/officeDocument/2006/relationships/diagramQuickStyle" Target="../diagrams/quickStyle3.xml"/><Relationship Id="rId4" Type="http://schemas.openxmlformats.org/officeDocument/2006/relationships/image" Target="../media/image9.png"/><Relationship Id="rId9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9.png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1.png"/><Relationship Id="rId4" Type="http://schemas.openxmlformats.org/officeDocument/2006/relationships/image" Target="../media/image10.png"/><Relationship Id="rId9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1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11" Type="http://schemas.openxmlformats.org/officeDocument/2006/relationships/image" Target="../media/image26.png"/><Relationship Id="rId5" Type="http://schemas.openxmlformats.org/officeDocument/2006/relationships/image" Target="../media/image9.png"/><Relationship Id="rId10" Type="http://schemas.openxmlformats.org/officeDocument/2006/relationships/image" Target="../media/image25.png"/><Relationship Id="rId4" Type="http://schemas.openxmlformats.org/officeDocument/2006/relationships/image" Target="../media/image5.emf"/><Relationship Id="rId9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22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png"/><Relationship Id="rId11" Type="http://schemas.openxmlformats.org/officeDocument/2006/relationships/image" Target="../media/image28.png"/><Relationship Id="rId5" Type="http://schemas.openxmlformats.org/officeDocument/2006/relationships/image" Target="../media/image9.png"/><Relationship Id="rId10" Type="http://schemas.openxmlformats.org/officeDocument/2006/relationships/image" Target="../media/image21.png"/><Relationship Id="rId4" Type="http://schemas.openxmlformats.org/officeDocument/2006/relationships/image" Target="../media/image5.emf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2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png"/><Relationship Id="rId11" Type="http://schemas.openxmlformats.org/officeDocument/2006/relationships/image" Target="../media/image30.png"/><Relationship Id="rId5" Type="http://schemas.openxmlformats.org/officeDocument/2006/relationships/image" Target="../media/image5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8.bin"/><Relationship Id="rId9" Type="http://schemas.openxmlformats.org/officeDocument/2006/relationships/hyperlink" Target="https://cloudcam.skbroadband.com/do/front/dashboard/cameraInfo?camId=117252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cam.skbroadband.com/do/front/mypage/serviceDownloadList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cam.skbroadband.com/do/front/dashboard/cameraInfo?camId=117252" TargetMode="External"/><Relationship Id="rId13" Type="http://schemas.microsoft.com/office/2007/relationships/diagramDrawing" Target="../diagrams/drawing4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12" Type="http://schemas.openxmlformats.org/officeDocument/2006/relationships/diagramColors" Target="../diagrams/colors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11" Type="http://schemas.openxmlformats.org/officeDocument/2006/relationships/diagramQuickStyle" Target="../diagrams/quickStyle4.xml"/><Relationship Id="rId5" Type="http://schemas.openxmlformats.org/officeDocument/2006/relationships/image" Target="../media/image5.emf"/><Relationship Id="rId10" Type="http://schemas.openxmlformats.org/officeDocument/2006/relationships/diagramLayout" Target="../diagrams/layout4.xml"/><Relationship Id="rId4" Type="http://schemas.openxmlformats.org/officeDocument/2006/relationships/oleObject" Target="../embeddings/oleObject22.bin"/><Relationship Id="rId9" Type="http://schemas.openxmlformats.org/officeDocument/2006/relationships/diagramData" Target="../diagrams/data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tif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42.tif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tif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tif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tif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46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tif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image" Target="../media/image49.jpeg"/><Relationship Id="rId4" Type="http://schemas.openxmlformats.org/officeDocument/2006/relationships/oleObject" Target="../embeddings/oleObject28.bin"/><Relationship Id="rId9" Type="http://schemas.openxmlformats.org/officeDocument/2006/relationships/hyperlink" Target="http://dpg.danawa.com/news/view?boardSeq=64&amp;listSeq=3582617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50.jpe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51.jpe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52.jpe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53.jpe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png"/><Relationship Id="rId11" Type="http://schemas.openxmlformats.org/officeDocument/2006/relationships/image" Target="../media/image61.png"/><Relationship Id="rId5" Type="http://schemas.openxmlformats.org/officeDocument/2006/relationships/image" Target="../media/image9.png"/><Relationship Id="rId10" Type="http://schemas.openxmlformats.org/officeDocument/2006/relationships/image" Target="../media/image60.png"/><Relationship Id="rId4" Type="http://schemas.openxmlformats.org/officeDocument/2006/relationships/image" Target="../media/image5.emf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emf"/><Relationship Id="rId12" Type="http://schemas.openxmlformats.org/officeDocument/2006/relationships/image" Target="../media/image69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11" Type="http://schemas.openxmlformats.org/officeDocument/2006/relationships/image" Target="../media/image68.png"/><Relationship Id="rId5" Type="http://schemas.openxmlformats.org/officeDocument/2006/relationships/image" Target="../media/image9.png"/><Relationship Id="rId10" Type="http://schemas.openxmlformats.org/officeDocument/2006/relationships/image" Target="../media/image67.png"/><Relationship Id="rId4" Type="http://schemas.openxmlformats.org/officeDocument/2006/relationships/image" Target="../media/image10.png"/><Relationship Id="rId9" Type="http://schemas.openxmlformats.org/officeDocument/2006/relationships/image" Target="../media/image66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9.png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10.png"/><Relationship Id="rId9" Type="http://schemas.openxmlformats.org/officeDocument/2006/relationships/image" Target="../media/image6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69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5.emf"/><Relationship Id="rId9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68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9.png"/><Relationship Id="rId5" Type="http://schemas.openxmlformats.org/officeDocument/2006/relationships/image" Target="../media/image65.png"/><Relationship Id="rId4" Type="http://schemas.openxmlformats.org/officeDocument/2006/relationships/image" Target="../media/image5.emf"/><Relationship Id="rId9" Type="http://schemas.openxmlformats.org/officeDocument/2006/relationships/image" Target="../media/image1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.be/i5pKxG_KeVo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hyperlink" Target="https://github.com/ahg223/4-1-Flask" TargetMode="External"/><Relationship Id="rId4" Type="http://schemas.openxmlformats.org/officeDocument/2006/relationships/oleObject" Target="../embeddings/oleObject40.bin"/><Relationship Id="rId9" Type="http://schemas.openxmlformats.org/officeDocument/2006/relationships/hyperlink" Target="https://github.com/guard1000/Cloud_Cam_API_Contest_BlueScreen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7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7" Type="http://schemas.openxmlformats.org/officeDocument/2006/relationships/image" Target="../media/image73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ahg223@gmail.com" TargetMode="External"/><Relationship Id="rId3" Type="http://schemas.openxmlformats.org/officeDocument/2006/relationships/slideLayout" Target="../slideLayouts/slideLayout6.xml"/><Relationship Id="rId7" Type="http://schemas.openxmlformats.org/officeDocument/2006/relationships/hyperlink" Target="mailto:sunghyeon86@gmail.com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hyperlink" Target="mailto:cjsdnr885@naver.com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image" Target="../media/image74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8"/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000"/>
                    </a14:imgEffect>
                    <a14:imgEffect>
                      <a14:brightnessContrast bright="5000" contras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681" y="502774"/>
            <a:ext cx="6628693" cy="6199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-17439" y="1639247"/>
            <a:ext cx="10260013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ko-KR" altLang="en-US" sz="4000" b="1" dirty="0" err="1" smtClean="0">
                <a:latin typeface="Rix정고딕 L" panose="02020603020101020101" pitchFamily="18" charset="-127"/>
                <a:ea typeface="Rix정고딕 L" panose="02020603020101020101" pitchFamily="18" charset="-127"/>
              </a:rPr>
              <a:t>클라우드캠</a:t>
            </a:r>
            <a:r>
              <a:rPr lang="ko-KR" altLang="en-US" sz="4000" b="1" dirty="0" smtClean="0">
                <a:latin typeface="Rix정고딕 L" panose="02020603020101020101" pitchFamily="18" charset="-127"/>
                <a:ea typeface="Rix정고딕 L" panose="02020603020101020101" pitchFamily="18" charset="-127"/>
              </a:rPr>
              <a:t> </a:t>
            </a:r>
            <a:r>
              <a:rPr lang="en-US" altLang="ko-KR" sz="4000" b="1" dirty="0" smtClean="0">
                <a:latin typeface="Rix정고딕 L" panose="02020603020101020101" pitchFamily="18" charset="-127"/>
                <a:ea typeface="Rix정고딕 L" panose="02020603020101020101" pitchFamily="18" charset="-127"/>
              </a:rPr>
              <a:t>API: </a:t>
            </a:r>
            <a:endParaRPr lang="en-US" altLang="ko-KR" sz="4000" b="1" dirty="0">
              <a:latin typeface="Rix정고딕 L" panose="02020603020101020101" pitchFamily="18" charset="-127"/>
              <a:ea typeface="Rix정고딕 L" panose="02020603020101020101" pitchFamily="18" charset="-127"/>
            </a:endParaRPr>
          </a:p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ko-KR" altLang="en-US" sz="4000" b="1" dirty="0" smtClean="0">
                <a:latin typeface="Rix정고딕 L" panose="02020603020101020101" pitchFamily="18" charset="-127"/>
                <a:ea typeface="Rix정고딕 L" panose="02020603020101020101" pitchFamily="18" charset="-127"/>
              </a:rPr>
              <a:t>영상 서비스개발 </a:t>
            </a:r>
            <a:r>
              <a:rPr lang="ko-KR" altLang="en-US" sz="4000" b="1" dirty="0">
                <a:latin typeface="Rix정고딕 L" panose="02020603020101020101" pitchFamily="18" charset="-127"/>
                <a:ea typeface="Rix정고딕 L" panose="02020603020101020101" pitchFamily="18" charset="-127"/>
              </a:rPr>
              <a:t>및 아이디어 공모전</a:t>
            </a:r>
            <a:endParaRPr lang="en-US" altLang="ko-KR" sz="3200" b="1" dirty="0">
              <a:latin typeface="Rix정고딕 L" panose="02020603020101020101" pitchFamily="18" charset="-127"/>
              <a:ea typeface="Rix정고딕 L" panose="02020603020101020101" pitchFamily="18" charset="-127"/>
            </a:endParaRPr>
          </a:p>
          <a:p>
            <a:pPr algn="ctr">
              <a:lnSpc>
                <a:spcPct val="150000"/>
              </a:lnSpc>
              <a:spcAft>
                <a:spcPts val="1200"/>
              </a:spcAft>
            </a:pPr>
            <a:endParaRPr lang="en-US" altLang="ko-KR" sz="3200" b="1" dirty="0" smtClean="0">
              <a:solidFill>
                <a:schemeClr val="bg1"/>
              </a:solidFill>
              <a:latin typeface="Rix정고딕 L" panose="02020603020101020101" pitchFamily="18" charset="-127"/>
              <a:ea typeface="Rix정고딕 L" panose="02020603020101020101" pitchFamily="18" charset="-127"/>
            </a:endParaRPr>
          </a:p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ko-KR" altLang="en-US" sz="3200" b="1" dirty="0" smtClean="0">
                <a:latin typeface="Rix정고딕 L" panose="02020603020101020101" pitchFamily="18" charset="-127"/>
                <a:ea typeface="Rix정고딕 L" panose="02020603020101020101" pitchFamily="18" charset="-127"/>
              </a:rPr>
              <a:t>팀 블루스크린</a:t>
            </a:r>
            <a:endParaRPr lang="ko-KR" altLang="en-US" sz="1200" b="1" dirty="0">
              <a:latin typeface="Rix정고딕 L" panose="02020603020101020101" pitchFamily="18" charset="-127"/>
              <a:ea typeface="Rix정고딕 L" panose="02020603020101020101" pitchFamily="18" charset="-127"/>
            </a:endParaRPr>
          </a:p>
        </p:txBody>
      </p:sp>
      <p:pic>
        <p:nvPicPr>
          <p:cNvPr id="7" name="Picture 2" descr="SK ë¸ë¡ëë°´ëì ëí ì´ë¯¸ì§ ê²ìê²°ê³¼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7201" y="168834"/>
            <a:ext cx="1785373" cy="66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477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2-1) </a:t>
            </a:r>
            <a:r>
              <a:rPr lang="ko-KR" altLang="en-US" sz="28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추진 배경 및 필요성</a:t>
            </a:r>
            <a:endParaRPr lang="en-US" altLang="ko-KR" sz="28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45370" y="1628800"/>
            <a:ext cx="925714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&lt;SNS</a:t>
            </a:r>
            <a:r>
              <a:rPr lang="ko-KR" altLang="en-US" sz="2000" dirty="0" err="1">
                <a:solidFill>
                  <a:srgbClr val="FF0000"/>
                </a:solidFill>
              </a:rPr>
              <a:t>ㆍ</a:t>
            </a:r>
            <a:r>
              <a:rPr lang="ko-KR" altLang="en-US" sz="20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스트리밍은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이미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짧은 일상 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Clip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이 대세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&gt;</a:t>
            </a:r>
          </a:p>
          <a:p>
            <a:pPr lvl="0">
              <a:defRPr/>
            </a:pP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페이스북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인스타그램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아프리카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트위치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유튜브로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대표되는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와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스트리밍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 플랫폼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의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파급력은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이미 검증되었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저희 팀은 이런 플랫폼에 가장 친숙한 대학생의 감성을 바탕으로 접근했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</a:p>
          <a:p>
            <a:pPr lvl="0">
              <a:defRPr/>
            </a:pP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저희가 직접 느낀 오늘날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영상 생태계의 두 가지 키워드는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[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짧은 길이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]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와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[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일상 중심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]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이었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이전에는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를 통해 신기하거나 평소 경험하지 못할 소재가 인기를 끌었다면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요즘은 더욱 공감되거나 소소한 일상을 담는 영상이 더 큰 영향력을 지닙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또한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점차 사람들은 짧은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클립 영상을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찾게 되었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짧은 시간에 핵심 이벤트를 담아내거나 특정한 순간을 포착한 영상이 더 많은 인기를 얻고 있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이는 대표적인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SNS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미디어 플랫폼인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아프리카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TV’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와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Twitch’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에서 분명한 사례로 드러났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6561338" y="3746221"/>
            <a:ext cx="3122598" cy="2822027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445369" y="3924434"/>
            <a:ext cx="6097391" cy="2188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&lt;Twitch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의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성공비결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영상 </a:t>
            </a:r>
            <a:r>
              <a:rPr lang="ko-KR" altLang="en-US" sz="20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도네이션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&gt;</a:t>
            </a:r>
          </a:p>
          <a:p>
            <a:pPr lvl="0">
              <a:defRPr/>
            </a:pPr>
            <a:endParaRPr lang="en-US" altLang="ko-KR" sz="20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Regular"/>
                <a:ea typeface="뫼비우스 Regular"/>
              </a:rPr>
              <a:t>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스트리밍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플랫폼 부동의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1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위였던 아프리카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TV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를 위협하는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Twitch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의 흥행 비결은 바로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영상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도네이션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’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입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아프리카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TV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와의 가장 큰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차별점으로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스트리머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방송을 짧은 영상 클립 형태로 만들어 비용을 내면 해당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스트리머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방송에 송출하여 모두가 공유할 수 있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이는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스트리머들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레전드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’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순간을 담은 영상들을 더욱 자주 방송에 노출해 더 많은 사람에게 퍼뜨리는 효과를 가져왔습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최근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상 가장 많은 인기 영상 유형이 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~~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레전드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짤 모음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’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혹은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~~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레전드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’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등의 짧은 길이 클립인 것도 이러한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트렌드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영향입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 </a:t>
            </a: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2-1) 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추진 배경 및 필요성</a:t>
            </a:r>
            <a:endParaRPr lang="en-US" altLang="ko-KR" sz="28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7"/>
          <a:srcRect t="2750" b="10100"/>
          <a:stretch>
            <a:fillRect/>
          </a:stretch>
        </p:blipFill>
        <p:spPr>
          <a:xfrm>
            <a:off x="7026208" y="932574"/>
            <a:ext cx="2800553" cy="52168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직사각형 8"/>
          <p:cNvSpPr/>
          <p:nvPr/>
        </p:nvSpPr>
        <p:spPr>
          <a:xfrm>
            <a:off x="269466" y="1406168"/>
            <a:ext cx="6516724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&lt;</a:t>
            </a:r>
            <a:r>
              <a:rPr lang="ko-KR" altLang="en-US" sz="20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내 것인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듯 </a:t>
            </a:r>
            <a:r>
              <a:rPr lang="ko-KR" altLang="en-US" sz="20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내 것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아닌 </a:t>
            </a:r>
            <a:r>
              <a:rPr lang="ko-KR" altLang="en-US" sz="20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스마트캠</a:t>
            </a:r>
            <a:r>
              <a:rPr lang="ko-KR" altLang="en-US" sz="20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영상 데이터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?&gt;</a:t>
            </a:r>
          </a:p>
          <a:p>
            <a:pPr lvl="0">
              <a:defRPr/>
            </a:pP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  <a:p>
            <a:pPr lvl="0"/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현재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KB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의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‘CLOUD CAM’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p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서는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실시간 영상을 확인하거나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사진으로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캡처는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가능하지만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,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영상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캡처는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제공하지 않습니다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사건을 담아내는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영상의 힘은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사진과 큰 차이를 가집니다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또한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,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현재 제공하는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는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시간 단위의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긴 영상만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다운로드 신청이 가능하며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,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그마저도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바로 사용자 핸드폰으로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가 불가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합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니다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영상을 소장하고 싶은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사용자는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웹상의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이력에서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직접 다운로드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를 해야 하는 불편이 있습니다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한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한순간을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위해서는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최소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1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시간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의 영상을 살피며 편집을 해야 하는 불편도 있습니다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>
              <a:defRPr/>
            </a:pP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&lt;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그래서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accent2"/>
                </a:solidFill>
                <a:latin typeface="뫼비우스 Bold"/>
                <a:ea typeface="뫼비우스 Bold"/>
              </a:rPr>
              <a:t>블루스크린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은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생각했습니다</a:t>
            </a:r>
            <a:r>
              <a:rPr lang="en-US" altLang="ko-KR" sz="20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&gt;</a:t>
            </a:r>
          </a:p>
          <a:p>
            <a:pPr lvl="0">
              <a:defRPr/>
            </a:pP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실시간 화면에서 버튼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한 번으로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원하는 길이의 영상을 바로 내 휴대폰으로 저장할 수 있다면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?’</a:t>
            </a:r>
          </a:p>
          <a:p>
            <a:pPr lvl="0">
              <a:defRPr/>
            </a:pP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클라우드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캠 주 고객인 소상공인들의 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를 활용한 젊은 층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타겟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홍보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효과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일상의 순간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을 공유하는 즐거움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,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필요한 순간만을 정확히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영상증거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로 남겨주는 보안 기능을 모두 잡을 수 있다고 말입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 </a:t>
            </a: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359449" y="6168869"/>
            <a:ext cx="24673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&lt;CLOUD CAM </a:t>
            </a:r>
            <a:r>
              <a:rPr lang="ko-KR" altLang="en-US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인 앱 화면 캡처</a:t>
            </a:r>
            <a:r>
              <a:rPr lang="en-US" altLang="ko-KR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&gt;</a:t>
            </a:r>
          </a:p>
          <a:p>
            <a:pPr lvl="0">
              <a:defRPr/>
            </a:pPr>
            <a:r>
              <a:rPr lang="en-US" altLang="ko-KR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- </a:t>
            </a:r>
            <a:r>
              <a:rPr lang="ko-KR" altLang="en-US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화면 캡처 기능만 제공한다 </a:t>
            </a:r>
            <a:r>
              <a:rPr lang="en-US" altLang="ko-KR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-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926388" y="5250146"/>
            <a:ext cx="4932548" cy="8993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직사각형 10"/>
          <p:cNvSpPr/>
          <p:nvPr/>
        </p:nvSpPr>
        <p:spPr>
          <a:xfrm>
            <a:off x="1668198" y="6273154"/>
            <a:ext cx="3702223" cy="449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&lt;CLOUD CAM API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의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‘getPlaybackDownLoad’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메서드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&gt;</a:t>
            </a:r>
          </a:p>
          <a:p>
            <a:pPr lvl="0" algn="ctr">
              <a:defRPr/>
            </a:pP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- 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인자가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h(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시간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)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단위까지 밖에 없다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-</a:t>
            </a:r>
          </a:p>
        </p:txBody>
      </p:sp>
      <p:sp>
        <p:nvSpPr>
          <p:cNvPr id="12" name="Rectangle 38"/>
          <p:cNvSpPr>
            <a:spLocks noChangeArrowheads="1"/>
          </p:cNvSpPr>
          <p:nvPr/>
        </p:nvSpPr>
        <p:spPr>
          <a:xfrm>
            <a:off x="1135063" y="3068955"/>
            <a:ext cx="185102" cy="64389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anchor="ctr" anchorCtr="0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kumimoji="0" lang="ko-KR" altLang="ko-KR" sz="1800" b="0" i="0" u="none" strike="noStrike" cap="none" normalizeH="0" baseline="0">
                <a:solidFill>
                  <a:schemeClr val="tx1"/>
                </a:solidFill>
                <a:effectLst/>
                <a:latin typeface="Arial"/>
              </a:rPr>
              <a:t/>
            </a:r>
            <a:br>
              <a:rPr kumimoji="0" lang="ko-KR" altLang="ko-KR" sz="1800" b="0" i="0" u="none" strike="noStrike" cap="none" normalizeH="0" baseline="0">
                <a:solidFill>
                  <a:schemeClr val="tx1"/>
                </a:solidFill>
                <a:effectLst/>
                <a:latin typeface="Arial"/>
              </a:rPr>
            </a:br>
            <a:endParaRPr kumimoji="0" lang="ko-KR" altLang="ko-KR" sz="1800" b="0" i="0" u="none" strike="noStrike" cap="none" normalizeH="0" baseline="0"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4758353" y="5273703"/>
            <a:ext cx="1088072" cy="226236"/>
          </a:xfrm>
          <a:prstGeom prst="roundRect">
            <a:avLst>
              <a:gd name="adj" fmla="val 16667"/>
            </a:avLst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anchor="ctr"/>
          <a:lstStyle/>
          <a:p>
            <a:pPr marL="0" marR="0" indent="0" algn="ctr" defTabSz="914400" eaLnBrk="1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i="0" u="none" strike="noStrike" kern="0" cap="none" spc="-60" normalizeH="0" baseline="0">
              <a:ln w="9525"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9414482" y="1459689"/>
            <a:ext cx="310170" cy="223855"/>
          </a:xfrm>
          <a:prstGeom prst="roundRect">
            <a:avLst>
              <a:gd name="adj" fmla="val 16667"/>
            </a:avLst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anchor="ctr"/>
          <a:lstStyle/>
          <a:p>
            <a:pPr marL="0" marR="0" indent="0" algn="ctr" defTabSz="914400" eaLnBrk="1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i="0" u="none" strike="noStrike" kern="0" cap="none" spc="-60" normalizeH="0" baseline="0">
              <a:ln w="9525"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그룹 17">
            <a:extLst>
              <a:ext uri="{FF2B5EF4-FFF2-40B4-BE49-F238E27FC236}">
                <a16:creationId xmlns="" xmlns:a16="http://schemas.microsoft.com/office/drawing/2014/main" id="{7003896A-48F6-F440-BD3F-4FEBC82BA61C}"/>
              </a:ext>
            </a:extLst>
          </p:cNvPr>
          <p:cNvGrpSpPr/>
          <p:nvPr/>
        </p:nvGrpSpPr>
        <p:grpSpPr>
          <a:xfrm>
            <a:off x="1" y="-16836"/>
            <a:ext cx="10260012" cy="6854824"/>
            <a:chOff x="-9575" y="-297"/>
            <a:chExt cx="9925149" cy="6858594"/>
          </a:xfrm>
        </p:grpSpPr>
        <p:pic>
          <p:nvPicPr>
            <p:cNvPr id="19" name="그림 18">
              <a:extLst>
                <a:ext uri="{FF2B5EF4-FFF2-40B4-BE49-F238E27FC236}">
                  <a16:creationId xmlns="" xmlns:a16="http://schemas.microsoft.com/office/drawing/2014/main" id="{582DC698-1944-1047-A788-3B6B7F7445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20" name="그림 19">
              <a:extLst>
                <a:ext uri="{FF2B5EF4-FFF2-40B4-BE49-F238E27FC236}">
                  <a16:creationId xmlns="" xmlns:a16="http://schemas.microsoft.com/office/drawing/2014/main" id="{0252EA8A-3936-694D-A4F9-9E53195DF8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6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3E46CB95-B07D-EA49-A159-7C42B28414D0}"/>
              </a:ext>
            </a:extLst>
          </p:cNvPr>
          <p:cNvSpPr/>
          <p:nvPr/>
        </p:nvSpPr>
        <p:spPr>
          <a:xfrm>
            <a:off x="5315626" y="4044604"/>
            <a:ext cx="46001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1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유저의 버튼 클릭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3B7FEEE6-EB09-484A-8F88-C9DB69FAA6B4}"/>
              </a:ext>
            </a:extLst>
          </p:cNvPr>
          <p:cNvSpPr/>
          <p:nvPr/>
        </p:nvSpPr>
        <p:spPr>
          <a:xfrm>
            <a:off x="5321917" y="4432237"/>
            <a:ext cx="45953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를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통해 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erver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특정 시간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길이의 다운로드 요청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E49F38B3-0ED9-4340-A69F-AC61506C7013}"/>
              </a:ext>
            </a:extLst>
          </p:cNvPr>
          <p:cNvSpPr/>
          <p:nvPr/>
        </p:nvSpPr>
        <p:spPr>
          <a:xfrm>
            <a:off x="5321916" y="4815345"/>
            <a:ext cx="45953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구현된 </a:t>
            </a:r>
            <a:r>
              <a:rPr lang="ko-KR" altLang="en-US" sz="16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을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통해 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oud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요청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="" xmlns:a16="http://schemas.microsoft.com/office/drawing/2014/main" id="{17FE66D1-814A-054F-B08B-A7CBA329B794}"/>
              </a:ext>
            </a:extLst>
          </p:cNvPr>
          <p:cNvSpPr/>
          <p:nvPr/>
        </p:nvSpPr>
        <p:spPr>
          <a:xfrm>
            <a:off x="5313552" y="5199979"/>
            <a:ext cx="460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4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된 영상을 로컬에 다운로드 및 자막 작업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="" xmlns:a16="http://schemas.microsoft.com/office/drawing/2014/main" id="{B83E84CA-BC08-F449-97C1-083C33451BC2}"/>
              </a:ext>
            </a:extLst>
          </p:cNvPr>
          <p:cNvSpPr/>
          <p:nvPr/>
        </p:nvSpPr>
        <p:spPr>
          <a:xfrm>
            <a:off x="5313551" y="5583087"/>
            <a:ext cx="460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5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소켓 통신을 통해 편집된 영상 송신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="" xmlns:a16="http://schemas.microsoft.com/office/drawing/2014/main" id="{BAB82DFE-CA46-1345-BA00-F682C8562A92}"/>
              </a:ext>
            </a:extLst>
          </p:cNvPr>
          <p:cNvSpPr/>
          <p:nvPr/>
        </p:nvSpPr>
        <p:spPr>
          <a:xfrm>
            <a:off x="5321997" y="5970720"/>
            <a:ext cx="460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6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수신된 영상을 사용자가 다운로드 하여 활용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349143" y="878136"/>
            <a:ext cx="4417448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&lt;Entities&gt;</a:t>
            </a:r>
          </a:p>
          <a:p>
            <a:pPr lvl="0"/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KB CLOUD</a:t>
            </a:r>
          </a:p>
          <a:p>
            <a:pPr lvl="0"/>
            <a:r>
              <a:rPr lang="ko-KR" altLang="en-US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클라우드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캠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관련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가 작동하는 장소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9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p</a:t>
            </a:r>
            <a:r>
              <a:rPr lang="ko-KR" altLang="en-US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for</a:t>
            </a:r>
            <a:r>
              <a:rPr lang="ko-KR" altLang="en-US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video</a:t>
            </a:r>
            <a:r>
              <a:rPr lang="ko-KR" altLang="en-US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ip</a:t>
            </a:r>
          </a:p>
          <a:p>
            <a:pPr lvl="0"/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만들어 낸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를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담은 모바일 앱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9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 Server</a:t>
            </a: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의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을 받아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을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통해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KB Cloud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특정 시간대의 영상을 요청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그 후 짧은 자막을 입혀 소켓 통신을 통해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p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 설치된 디바이스에 전송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9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User: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사용자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45371" y="872716"/>
            <a:ext cx="46761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비스 내용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="" xmlns:a16="http://schemas.microsoft.com/office/drawing/2014/main" id="{3E46CB95-B07D-EA49-A159-7C42B28414D0}"/>
              </a:ext>
            </a:extLst>
          </p:cNvPr>
          <p:cNvSpPr/>
          <p:nvPr/>
        </p:nvSpPr>
        <p:spPr>
          <a:xfrm>
            <a:off x="5321072" y="3653221"/>
            <a:ext cx="46001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&lt;Process&gt;</a:t>
            </a:r>
          </a:p>
        </p:txBody>
      </p:sp>
      <p:graphicFrame>
        <p:nvGraphicFramePr>
          <p:cNvPr id="24" name="다이어그램 23">
            <a:extLst>
              <a:ext uri="{FF2B5EF4-FFF2-40B4-BE49-F238E27FC236}">
                <a16:creationId xmlns="" xmlns:a16="http://schemas.microsoft.com/office/drawing/2014/main" id="{17F3371F-0CEE-9A41-BB35-0861BEB9C7F2}"/>
              </a:ext>
            </a:extLst>
          </p:cNvPr>
          <p:cNvGraphicFramePr/>
          <p:nvPr>
            <p:extLst/>
          </p:nvPr>
        </p:nvGraphicFramePr>
        <p:xfrm>
          <a:off x="-294923" y="1929562"/>
          <a:ext cx="5601959" cy="3734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5" name="위쪽 화살표[U] 24">
            <a:extLst>
              <a:ext uri="{FF2B5EF4-FFF2-40B4-BE49-F238E27FC236}">
                <a16:creationId xmlns="" xmlns:a16="http://schemas.microsoft.com/office/drawing/2014/main" id="{603F5BBC-D320-AD45-938B-F7729AA82F15}"/>
              </a:ext>
            </a:extLst>
          </p:cNvPr>
          <p:cNvSpPr/>
          <p:nvPr/>
        </p:nvSpPr>
        <p:spPr>
          <a:xfrm rot="18900000">
            <a:off x="3117328" y="278082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위쪽 화살표[U] 25">
            <a:extLst>
              <a:ext uri="{FF2B5EF4-FFF2-40B4-BE49-F238E27FC236}">
                <a16:creationId xmlns="" xmlns:a16="http://schemas.microsoft.com/office/drawing/2014/main" id="{FF41A676-AA52-4548-8723-7EB7F3E05F95}"/>
              </a:ext>
            </a:extLst>
          </p:cNvPr>
          <p:cNvSpPr/>
          <p:nvPr/>
        </p:nvSpPr>
        <p:spPr>
          <a:xfrm rot="8100000">
            <a:off x="3496388" y="275475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위쪽 화살표[U] 26">
            <a:extLst>
              <a:ext uri="{FF2B5EF4-FFF2-40B4-BE49-F238E27FC236}">
                <a16:creationId xmlns="" xmlns:a16="http://schemas.microsoft.com/office/drawing/2014/main" id="{407ACAAF-B7E7-604D-9F3A-F68ED3186C91}"/>
              </a:ext>
            </a:extLst>
          </p:cNvPr>
          <p:cNvSpPr/>
          <p:nvPr/>
        </p:nvSpPr>
        <p:spPr>
          <a:xfrm rot="18900000">
            <a:off x="1306905" y="429822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위쪽 화살표[U] 27">
            <a:extLst>
              <a:ext uri="{FF2B5EF4-FFF2-40B4-BE49-F238E27FC236}">
                <a16:creationId xmlns="" xmlns:a16="http://schemas.microsoft.com/office/drawing/2014/main" id="{B1288B81-8D44-E347-806C-370E8B7CADA2}"/>
              </a:ext>
            </a:extLst>
          </p:cNvPr>
          <p:cNvSpPr/>
          <p:nvPr/>
        </p:nvSpPr>
        <p:spPr>
          <a:xfrm rot="8100000">
            <a:off x="1685965" y="427215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위쪽 화살표[U] 28">
            <a:extLst>
              <a:ext uri="{FF2B5EF4-FFF2-40B4-BE49-F238E27FC236}">
                <a16:creationId xmlns="" xmlns:a16="http://schemas.microsoft.com/office/drawing/2014/main" id="{20883DE5-6755-9345-B87A-C2596C882891}"/>
              </a:ext>
            </a:extLst>
          </p:cNvPr>
          <p:cNvSpPr/>
          <p:nvPr/>
        </p:nvSpPr>
        <p:spPr>
          <a:xfrm rot="16200000">
            <a:off x="2241538" y="3664235"/>
            <a:ext cx="260097" cy="638179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위쪽 화살표[U] 29">
            <a:extLst>
              <a:ext uri="{FF2B5EF4-FFF2-40B4-BE49-F238E27FC236}">
                <a16:creationId xmlns="" xmlns:a16="http://schemas.microsoft.com/office/drawing/2014/main" id="{11D695D4-0A7A-4E4F-B065-EAD5F2344F28}"/>
              </a:ext>
            </a:extLst>
          </p:cNvPr>
          <p:cNvSpPr/>
          <p:nvPr/>
        </p:nvSpPr>
        <p:spPr>
          <a:xfrm rot="5400000">
            <a:off x="2438726" y="3413636"/>
            <a:ext cx="260097" cy="638178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A257C9C9-477B-024E-903F-3CCA97324A26}"/>
              </a:ext>
            </a:extLst>
          </p:cNvPr>
          <p:cNvSpPr txBox="1"/>
          <p:nvPr/>
        </p:nvSpPr>
        <p:spPr bwMode="auto">
          <a:xfrm>
            <a:off x="1301188" y="4653715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kumimoji="1"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0BC6B52F-3CC8-DD4C-866B-CF2D521E8131}"/>
              </a:ext>
            </a:extLst>
          </p:cNvPr>
          <p:cNvSpPr txBox="1"/>
          <p:nvPr/>
        </p:nvSpPr>
        <p:spPr bwMode="auto">
          <a:xfrm>
            <a:off x="1902285" y="4283161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DB22C084-0419-C645-A73E-AFA20FA55E53}"/>
              </a:ext>
            </a:extLst>
          </p:cNvPr>
          <p:cNvSpPr txBox="1"/>
          <p:nvPr/>
        </p:nvSpPr>
        <p:spPr bwMode="auto">
          <a:xfrm>
            <a:off x="2416747" y="3440173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kumimoji="1"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25718E86-F5CB-C044-AB1B-1B8037E01F7D}"/>
              </a:ext>
            </a:extLst>
          </p:cNvPr>
          <p:cNvSpPr txBox="1"/>
          <p:nvPr/>
        </p:nvSpPr>
        <p:spPr bwMode="auto">
          <a:xfrm>
            <a:off x="2393702" y="4068847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12FCAE28-9AAA-FE47-8B79-377328C27147}"/>
              </a:ext>
            </a:extLst>
          </p:cNvPr>
          <p:cNvSpPr txBox="1"/>
          <p:nvPr/>
        </p:nvSpPr>
        <p:spPr bwMode="auto">
          <a:xfrm>
            <a:off x="3087288" y="3110252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D83B8B4E-6F00-294F-A7BB-DE4D4E9AF8F4}"/>
              </a:ext>
            </a:extLst>
          </p:cNvPr>
          <p:cNvSpPr txBox="1"/>
          <p:nvPr/>
        </p:nvSpPr>
        <p:spPr bwMode="auto">
          <a:xfrm>
            <a:off x="3696938" y="2766122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31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그룹 17">
            <a:extLst>
              <a:ext uri="{FF2B5EF4-FFF2-40B4-BE49-F238E27FC236}">
                <a16:creationId xmlns="" xmlns:a16="http://schemas.microsoft.com/office/drawing/2014/main" id="{7003896A-48F6-F440-BD3F-4FEBC82BA61C}"/>
              </a:ext>
            </a:extLst>
          </p:cNvPr>
          <p:cNvGrpSpPr/>
          <p:nvPr/>
        </p:nvGrpSpPr>
        <p:grpSpPr>
          <a:xfrm>
            <a:off x="1" y="-16836"/>
            <a:ext cx="10260012" cy="6854824"/>
            <a:chOff x="-9575" y="-297"/>
            <a:chExt cx="9925149" cy="6858594"/>
          </a:xfrm>
        </p:grpSpPr>
        <p:pic>
          <p:nvPicPr>
            <p:cNvPr id="19" name="그림 18">
              <a:extLst>
                <a:ext uri="{FF2B5EF4-FFF2-40B4-BE49-F238E27FC236}">
                  <a16:creationId xmlns="" xmlns:a16="http://schemas.microsoft.com/office/drawing/2014/main" id="{582DC698-1944-1047-A788-3B6B7F7445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20" name="그림 19">
              <a:extLst>
                <a:ext uri="{FF2B5EF4-FFF2-40B4-BE49-F238E27FC236}">
                  <a16:creationId xmlns="" xmlns:a16="http://schemas.microsoft.com/office/drawing/2014/main" id="{0252EA8A-3936-694D-A4F9-9E53195DF8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9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직사각형 16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349143" y="878136"/>
            <a:ext cx="4417448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&lt;Front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End&gt;</a:t>
            </a:r>
          </a:p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ser &amp; </a:t>
            </a:r>
            <a:r>
              <a:rPr lang="en-US" altLang="ko-KR" sz="20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lipCam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</a:p>
          <a:p>
            <a:pPr lvl="0"/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구현한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를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실행하는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p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을 실행하는 유저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네트워크 환경에 따라 적어도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5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초를 기다린 뒤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핸드폰을 확인하면 본인이 원하는 시간대 및 길이의 영상에 짧은 자막이 입혀져 저장된다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지향하는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UI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는 </a:t>
            </a:r>
            <a:r>
              <a:rPr lang="ko-KR" altLang="en-US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트위치의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영상 클립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UI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와 같다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342900" lvl="0" indent="-342900">
              <a:buAutoNum type="arabicPeriod"/>
            </a:pP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스크롤을 통해 영상의 길이 조절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342900" lvl="0" indent="-342900">
              <a:buAutoNum type="arabicPeriod"/>
            </a:pP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NS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업로드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342900" lvl="0" indent="-342900">
              <a:buAutoNum type="arabicPeriod"/>
            </a:pP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자신의 영상 클립 목록에 저장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342900" lvl="0" indent="-342900">
              <a:buAutoNum type="arabicPeriod"/>
            </a:pP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45371" y="872716"/>
            <a:ext cx="46761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비스 내용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="" xmlns:a16="http://schemas.microsoft.com/office/drawing/2014/main" id="{3E46CB95-B07D-EA49-A159-7C42B28414D0}"/>
              </a:ext>
            </a:extLst>
          </p:cNvPr>
          <p:cNvSpPr/>
          <p:nvPr/>
        </p:nvSpPr>
        <p:spPr>
          <a:xfrm>
            <a:off x="5321072" y="3653221"/>
            <a:ext cx="46001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&lt;UI example&gt;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="" xmlns:a16="http://schemas.microsoft.com/office/drawing/2014/main" id="{81005391-91AD-6148-A47B-2C17BB2DE0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39162" y="4273067"/>
            <a:ext cx="2889602" cy="234518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="" xmlns:a16="http://schemas.microsoft.com/office/drawing/2014/main" id="{9C6F9547-7927-2246-98B8-0D43D78619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30524" y="5183752"/>
            <a:ext cx="3499354" cy="1547235"/>
          </a:xfrm>
          <a:prstGeom prst="rect">
            <a:avLst/>
          </a:prstGeom>
        </p:spPr>
      </p:pic>
      <p:graphicFrame>
        <p:nvGraphicFramePr>
          <p:cNvPr id="4" name="다이어그램 3">
            <a:extLst>
              <a:ext uri="{FF2B5EF4-FFF2-40B4-BE49-F238E27FC236}">
                <a16:creationId xmlns="" xmlns:a16="http://schemas.microsoft.com/office/drawing/2014/main" id="{3FE27BB0-9AE8-CE47-B209-F415851D41EA}"/>
              </a:ext>
            </a:extLst>
          </p:cNvPr>
          <p:cNvGraphicFramePr/>
          <p:nvPr>
            <p:extLst/>
          </p:nvPr>
        </p:nvGraphicFramePr>
        <p:xfrm>
          <a:off x="-294923" y="1929562"/>
          <a:ext cx="5601959" cy="3734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5" name="위쪽 화살표[U] 4">
            <a:extLst>
              <a:ext uri="{FF2B5EF4-FFF2-40B4-BE49-F238E27FC236}">
                <a16:creationId xmlns="" xmlns:a16="http://schemas.microsoft.com/office/drawing/2014/main" id="{9F697565-528D-0C40-975D-E3AE1C1C3C80}"/>
              </a:ext>
            </a:extLst>
          </p:cNvPr>
          <p:cNvSpPr/>
          <p:nvPr/>
        </p:nvSpPr>
        <p:spPr>
          <a:xfrm rot="18900000">
            <a:off x="3117328" y="278082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위쪽 화살표[U] 21">
            <a:extLst>
              <a:ext uri="{FF2B5EF4-FFF2-40B4-BE49-F238E27FC236}">
                <a16:creationId xmlns="" xmlns:a16="http://schemas.microsoft.com/office/drawing/2014/main" id="{B3F17070-2579-FC42-85B2-1F3129B64128}"/>
              </a:ext>
            </a:extLst>
          </p:cNvPr>
          <p:cNvSpPr/>
          <p:nvPr/>
        </p:nvSpPr>
        <p:spPr>
          <a:xfrm rot="8100000">
            <a:off x="3496388" y="275475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위쪽 화살표[U] 23">
            <a:extLst>
              <a:ext uri="{FF2B5EF4-FFF2-40B4-BE49-F238E27FC236}">
                <a16:creationId xmlns="" xmlns:a16="http://schemas.microsoft.com/office/drawing/2014/main" id="{CBD44AD2-D2F5-7F4B-9AB3-65AA75CEAB51}"/>
              </a:ext>
            </a:extLst>
          </p:cNvPr>
          <p:cNvSpPr/>
          <p:nvPr/>
        </p:nvSpPr>
        <p:spPr>
          <a:xfrm rot="18900000">
            <a:off x="1306905" y="429822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위쪽 화살표[U] 25">
            <a:extLst>
              <a:ext uri="{FF2B5EF4-FFF2-40B4-BE49-F238E27FC236}">
                <a16:creationId xmlns="" xmlns:a16="http://schemas.microsoft.com/office/drawing/2014/main" id="{85A2D050-4901-7740-9A69-DD4ED45C7639}"/>
              </a:ext>
            </a:extLst>
          </p:cNvPr>
          <p:cNvSpPr/>
          <p:nvPr/>
        </p:nvSpPr>
        <p:spPr>
          <a:xfrm rot="8100000">
            <a:off x="1685965" y="427215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위쪽 화살표[U] 26">
            <a:extLst>
              <a:ext uri="{FF2B5EF4-FFF2-40B4-BE49-F238E27FC236}">
                <a16:creationId xmlns="" xmlns:a16="http://schemas.microsoft.com/office/drawing/2014/main" id="{F69D9A48-ADBC-4648-92B5-E40CE7AE46A0}"/>
              </a:ext>
            </a:extLst>
          </p:cNvPr>
          <p:cNvSpPr/>
          <p:nvPr/>
        </p:nvSpPr>
        <p:spPr>
          <a:xfrm rot="16200000">
            <a:off x="2241538" y="3664235"/>
            <a:ext cx="260097" cy="638179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위쪽 화살표[U] 27">
            <a:extLst>
              <a:ext uri="{FF2B5EF4-FFF2-40B4-BE49-F238E27FC236}">
                <a16:creationId xmlns="" xmlns:a16="http://schemas.microsoft.com/office/drawing/2014/main" id="{B96F436E-0B1B-7D4D-B6EE-669FE8A6AA50}"/>
              </a:ext>
            </a:extLst>
          </p:cNvPr>
          <p:cNvSpPr/>
          <p:nvPr/>
        </p:nvSpPr>
        <p:spPr>
          <a:xfrm rot="5400000">
            <a:off x="2438726" y="3413636"/>
            <a:ext cx="260097" cy="638178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A088F69-DDD9-8E4D-AC04-B879BBCAD1E1}"/>
              </a:ext>
            </a:extLst>
          </p:cNvPr>
          <p:cNvSpPr txBox="1"/>
          <p:nvPr/>
        </p:nvSpPr>
        <p:spPr bwMode="auto">
          <a:xfrm>
            <a:off x="1301188" y="4653715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kumimoji="1"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9A0F2DB-BAE2-834B-A3ED-31B505E08F0E}"/>
              </a:ext>
            </a:extLst>
          </p:cNvPr>
          <p:cNvSpPr txBox="1"/>
          <p:nvPr/>
        </p:nvSpPr>
        <p:spPr bwMode="auto">
          <a:xfrm>
            <a:off x="1902285" y="4283161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21640478-B313-D349-AF91-FB009D1686C1}"/>
              </a:ext>
            </a:extLst>
          </p:cNvPr>
          <p:cNvSpPr txBox="1"/>
          <p:nvPr/>
        </p:nvSpPr>
        <p:spPr bwMode="auto">
          <a:xfrm>
            <a:off x="2416747" y="3440173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kumimoji="1"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C80BF5D0-C39E-C849-8FB6-4638D07695CD}"/>
              </a:ext>
            </a:extLst>
          </p:cNvPr>
          <p:cNvSpPr txBox="1"/>
          <p:nvPr/>
        </p:nvSpPr>
        <p:spPr bwMode="auto">
          <a:xfrm>
            <a:off x="2393702" y="4068847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39859720-315E-0448-8259-61FB0127FB2E}"/>
              </a:ext>
            </a:extLst>
          </p:cNvPr>
          <p:cNvSpPr txBox="1"/>
          <p:nvPr/>
        </p:nvSpPr>
        <p:spPr bwMode="auto">
          <a:xfrm>
            <a:off x="3087288" y="3110252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9232CDFB-B95D-884E-9EC1-3D930730F590}"/>
              </a:ext>
            </a:extLst>
          </p:cNvPr>
          <p:cNvSpPr txBox="1"/>
          <p:nvPr/>
        </p:nvSpPr>
        <p:spPr bwMode="auto">
          <a:xfrm>
            <a:off x="3696938" y="2766122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타원 33">
            <a:extLst>
              <a:ext uri="{FF2B5EF4-FFF2-40B4-BE49-F238E27FC236}">
                <a16:creationId xmlns="" xmlns:a16="http://schemas.microsoft.com/office/drawing/2014/main" id="{1517D4FD-C810-394C-BE7A-32EC870E1300}"/>
              </a:ext>
            </a:extLst>
          </p:cNvPr>
          <p:cNvSpPr/>
          <p:nvPr/>
        </p:nvSpPr>
        <p:spPr>
          <a:xfrm rot="19114996">
            <a:off x="531098" y="2799835"/>
            <a:ext cx="2452027" cy="3711167"/>
          </a:xfrm>
          <a:prstGeom prst="ellipse">
            <a:avLst/>
          </a:prstGeom>
          <a:solidFill>
            <a:srgbClr val="FF7A00">
              <a:alpha val="6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876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그룹 17">
            <a:extLst>
              <a:ext uri="{FF2B5EF4-FFF2-40B4-BE49-F238E27FC236}">
                <a16:creationId xmlns="" xmlns:a16="http://schemas.microsoft.com/office/drawing/2014/main" id="{7003896A-48F6-F440-BD3F-4FEBC82BA61C}"/>
              </a:ext>
            </a:extLst>
          </p:cNvPr>
          <p:cNvGrpSpPr/>
          <p:nvPr/>
        </p:nvGrpSpPr>
        <p:grpSpPr>
          <a:xfrm>
            <a:off x="1" y="-16836"/>
            <a:ext cx="10260012" cy="6854824"/>
            <a:chOff x="-9575" y="-297"/>
            <a:chExt cx="9925149" cy="6858594"/>
          </a:xfrm>
        </p:grpSpPr>
        <p:pic>
          <p:nvPicPr>
            <p:cNvPr id="19" name="그림 18">
              <a:extLst>
                <a:ext uri="{FF2B5EF4-FFF2-40B4-BE49-F238E27FC236}">
                  <a16:creationId xmlns="" xmlns:a16="http://schemas.microsoft.com/office/drawing/2014/main" id="{582DC698-1944-1047-A788-3B6B7F7445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20" name="그림 19">
              <a:extLst>
                <a:ext uri="{FF2B5EF4-FFF2-40B4-BE49-F238E27FC236}">
                  <a16:creationId xmlns="" xmlns:a16="http://schemas.microsoft.com/office/drawing/2014/main" id="{0252EA8A-3936-694D-A4F9-9E53195DF8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13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3E46CB95-B07D-EA49-A159-7C42B28414D0}"/>
              </a:ext>
            </a:extLst>
          </p:cNvPr>
          <p:cNvSpPr/>
          <p:nvPr/>
        </p:nvSpPr>
        <p:spPr>
          <a:xfrm>
            <a:off x="5315626" y="4440694"/>
            <a:ext cx="46001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1.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Local server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서 </a:t>
            </a:r>
            <a:r>
              <a:rPr lang="ko-KR" altLang="en-US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을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통해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OUD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영상 다운로드 요청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3B7FEEE6-EB09-484A-8F88-C9DB69FAA6B4}"/>
              </a:ext>
            </a:extLst>
          </p:cNvPr>
          <p:cNvSpPr/>
          <p:nvPr/>
        </p:nvSpPr>
        <p:spPr>
          <a:xfrm>
            <a:off x="5321917" y="4828327"/>
            <a:ext cx="45953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된 영상을 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OUD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가 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전송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E49F38B3-0ED9-4340-A69F-AC61506C7013}"/>
              </a:ext>
            </a:extLst>
          </p:cNvPr>
          <p:cNvSpPr/>
          <p:nvPr/>
        </p:nvSpPr>
        <p:spPr>
          <a:xfrm>
            <a:off x="5321916" y="5211435"/>
            <a:ext cx="45953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전송 받은 영상을 로컬에서 편집하여 자막을 입힘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="" xmlns:a16="http://schemas.microsoft.com/office/drawing/2014/main" id="{17FE66D1-814A-054F-B08B-A7CBA329B794}"/>
              </a:ext>
            </a:extLst>
          </p:cNvPr>
          <p:cNvSpPr/>
          <p:nvPr/>
        </p:nvSpPr>
        <p:spPr>
          <a:xfrm>
            <a:off x="5313552" y="5596069"/>
            <a:ext cx="460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4. </a:t>
            </a:r>
            <a:r>
              <a:rPr lang="ko-KR" altLang="en-US" sz="16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을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통하여 해당 핸드폰의 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NAS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접근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="" xmlns:a16="http://schemas.microsoft.com/office/drawing/2014/main" id="{B83E84CA-BC08-F449-97C1-083C33451BC2}"/>
              </a:ext>
            </a:extLst>
          </p:cNvPr>
          <p:cNvSpPr/>
          <p:nvPr/>
        </p:nvSpPr>
        <p:spPr>
          <a:xfrm>
            <a:off x="5313551" y="5979177"/>
            <a:ext cx="460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5. </a:t>
            </a:r>
            <a:r>
              <a:rPr lang="ko-KR" altLang="en-US" sz="16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을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통해 경로를 전달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="" xmlns:a16="http://schemas.microsoft.com/office/drawing/2014/main" id="{BAB82DFE-CA46-1345-BA00-F682C8562A92}"/>
              </a:ext>
            </a:extLst>
          </p:cNvPr>
          <p:cNvSpPr/>
          <p:nvPr/>
        </p:nvSpPr>
        <p:spPr>
          <a:xfrm>
            <a:off x="5321997" y="6366810"/>
            <a:ext cx="460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6.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편집된 영상 파일을 핸드폰에 업로드</a:t>
            </a:r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349143" y="878136"/>
            <a:ext cx="4417448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&lt;Back End&gt;</a:t>
            </a:r>
          </a:p>
          <a:p>
            <a:pPr lvl="0"/>
            <a:r>
              <a:rPr lang="en-US" altLang="ko-KR" sz="1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 Server &amp; SKB CLOUD</a:t>
            </a:r>
          </a:p>
          <a:p>
            <a:pPr lvl="0"/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KB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OUD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접근하여 영상을 다운받기 위한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 Server</a:t>
            </a:r>
          </a:p>
          <a:p>
            <a:pPr lvl="0"/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만약 해당 기능의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가 배포된다면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 Server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는 사라지고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 entity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가 되어 통신이 줄어들 수 있다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Ngrok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을 사용하여 네트워크에 상관없이 해당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 Server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접근 가능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Local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서 </a:t>
            </a:r>
            <a:r>
              <a:rPr lang="en-US" altLang="ko-KR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ipCam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의 메모리에도 웹을 통하여 접근 가능하게 하기 위해 </a:t>
            </a:r>
            <a:r>
              <a:rPr lang="en-US" altLang="ko-KR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ClipCam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 설치된 핸드폰에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NAS</a:t>
            </a:r>
            <a:r>
              <a:rPr lang="ko-KR" altLang="en-US" sz="14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를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구축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45371" y="872716"/>
            <a:ext cx="46761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비스 내용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="" xmlns:a16="http://schemas.microsoft.com/office/drawing/2014/main" id="{3E46CB95-B07D-EA49-A159-7C42B28414D0}"/>
              </a:ext>
            </a:extLst>
          </p:cNvPr>
          <p:cNvSpPr/>
          <p:nvPr/>
        </p:nvSpPr>
        <p:spPr>
          <a:xfrm>
            <a:off x="5321072" y="4049311"/>
            <a:ext cx="46001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&lt;Process&gt;</a:t>
            </a:r>
          </a:p>
        </p:txBody>
      </p:sp>
      <p:graphicFrame>
        <p:nvGraphicFramePr>
          <p:cNvPr id="24" name="다이어그램 23">
            <a:extLst>
              <a:ext uri="{FF2B5EF4-FFF2-40B4-BE49-F238E27FC236}">
                <a16:creationId xmlns="" xmlns:a16="http://schemas.microsoft.com/office/drawing/2014/main" id="{38CD6D95-F715-3A4E-885A-DC2D98151D44}"/>
              </a:ext>
            </a:extLst>
          </p:cNvPr>
          <p:cNvGraphicFramePr/>
          <p:nvPr>
            <p:extLst/>
          </p:nvPr>
        </p:nvGraphicFramePr>
        <p:xfrm>
          <a:off x="-294923" y="1929562"/>
          <a:ext cx="5601959" cy="3734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5" name="위쪽 화살표[U] 24">
            <a:extLst>
              <a:ext uri="{FF2B5EF4-FFF2-40B4-BE49-F238E27FC236}">
                <a16:creationId xmlns="" xmlns:a16="http://schemas.microsoft.com/office/drawing/2014/main" id="{25946AF4-5FEA-7349-9B7E-2F2EE80039A8}"/>
              </a:ext>
            </a:extLst>
          </p:cNvPr>
          <p:cNvSpPr/>
          <p:nvPr/>
        </p:nvSpPr>
        <p:spPr>
          <a:xfrm rot="18900000">
            <a:off x="3117328" y="278082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위쪽 화살표[U] 25">
            <a:extLst>
              <a:ext uri="{FF2B5EF4-FFF2-40B4-BE49-F238E27FC236}">
                <a16:creationId xmlns="" xmlns:a16="http://schemas.microsoft.com/office/drawing/2014/main" id="{A1898C77-D7B8-BF4B-9E83-60AB96A6E32F}"/>
              </a:ext>
            </a:extLst>
          </p:cNvPr>
          <p:cNvSpPr/>
          <p:nvPr/>
        </p:nvSpPr>
        <p:spPr>
          <a:xfrm rot="8100000">
            <a:off x="3496388" y="275475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위쪽 화살표[U] 26">
            <a:extLst>
              <a:ext uri="{FF2B5EF4-FFF2-40B4-BE49-F238E27FC236}">
                <a16:creationId xmlns="" xmlns:a16="http://schemas.microsoft.com/office/drawing/2014/main" id="{527405FF-E15B-2C46-875E-5AFF40DAE788}"/>
              </a:ext>
            </a:extLst>
          </p:cNvPr>
          <p:cNvSpPr/>
          <p:nvPr/>
        </p:nvSpPr>
        <p:spPr>
          <a:xfrm rot="18900000">
            <a:off x="1306905" y="429822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위쪽 화살표[U] 27">
            <a:extLst>
              <a:ext uri="{FF2B5EF4-FFF2-40B4-BE49-F238E27FC236}">
                <a16:creationId xmlns="" xmlns:a16="http://schemas.microsoft.com/office/drawing/2014/main" id="{309F6397-422A-AD41-B4A8-28FDE50BAEDC}"/>
              </a:ext>
            </a:extLst>
          </p:cNvPr>
          <p:cNvSpPr/>
          <p:nvPr/>
        </p:nvSpPr>
        <p:spPr>
          <a:xfrm rot="8100000">
            <a:off x="1685965" y="427215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위쪽 화살표[U] 28">
            <a:extLst>
              <a:ext uri="{FF2B5EF4-FFF2-40B4-BE49-F238E27FC236}">
                <a16:creationId xmlns="" xmlns:a16="http://schemas.microsoft.com/office/drawing/2014/main" id="{17F78669-DC3D-894E-88CB-03D367A9F8B2}"/>
              </a:ext>
            </a:extLst>
          </p:cNvPr>
          <p:cNvSpPr/>
          <p:nvPr/>
        </p:nvSpPr>
        <p:spPr>
          <a:xfrm rot="16200000">
            <a:off x="2241538" y="3664235"/>
            <a:ext cx="260097" cy="638179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위쪽 화살표[U] 29">
            <a:extLst>
              <a:ext uri="{FF2B5EF4-FFF2-40B4-BE49-F238E27FC236}">
                <a16:creationId xmlns="" xmlns:a16="http://schemas.microsoft.com/office/drawing/2014/main" id="{2E0F3912-C668-8641-97A8-5E75B548B255}"/>
              </a:ext>
            </a:extLst>
          </p:cNvPr>
          <p:cNvSpPr/>
          <p:nvPr/>
        </p:nvSpPr>
        <p:spPr>
          <a:xfrm rot="5400000">
            <a:off x="2438726" y="3413636"/>
            <a:ext cx="260097" cy="638178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2D81582E-5BD5-D541-B5BA-C0AC1098FEE2}"/>
              </a:ext>
            </a:extLst>
          </p:cNvPr>
          <p:cNvSpPr txBox="1"/>
          <p:nvPr/>
        </p:nvSpPr>
        <p:spPr bwMode="auto">
          <a:xfrm>
            <a:off x="1301188" y="4653715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kumimoji="1"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94A1B23D-850C-B247-82A9-652C1F105F53}"/>
              </a:ext>
            </a:extLst>
          </p:cNvPr>
          <p:cNvSpPr txBox="1"/>
          <p:nvPr/>
        </p:nvSpPr>
        <p:spPr bwMode="auto">
          <a:xfrm>
            <a:off x="1902285" y="4283161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81462593-8164-F345-B954-238C2D9F4B84}"/>
              </a:ext>
            </a:extLst>
          </p:cNvPr>
          <p:cNvSpPr txBox="1"/>
          <p:nvPr/>
        </p:nvSpPr>
        <p:spPr bwMode="auto">
          <a:xfrm>
            <a:off x="2416747" y="3440173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kumimoji="1"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0095390C-3E17-0642-B18B-19AB4E298624}"/>
              </a:ext>
            </a:extLst>
          </p:cNvPr>
          <p:cNvSpPr txBox="1"/>
          <p:nvPr/>
        </p:nvSpPr>
        <p:spPr bwMode="auto">
          <a:xfrm>
            <a:off x="2393702" y="4068847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123CF250-5546-1D4C-B2A5-F4C69E4D2DE6}"/>
              </a:ext>
            </a:extLst>
          </p:cNvPr>
          <p:cNvSpPr txBox="1"/>
          <p:nvPr/>
        </p:nvSpPr>
        <p:spPr bwMode="auto">
          <a:xfrm>
            <a:off x="3087288" y="3110252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44A1C090-B485-814B-82D8-0D268C2CBE1A}"/>
              </a:ext>
            </a:extLst>
          </p:cNvPr>
          <p:cNvSpPr txBox="1"/>
          <p:nvPr/>
        </p:nvSpPr>
        <p:spPr bwMode="auto">
          <a:xfrm>
            <a:off x="3696938" y="2766122"/>
            <a:ext cx="1440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1" lang="ko-KR" altLang="en-US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타원 36">
            <a:extLst>
              <a:ext uri="{FF2B5EF4-FFF2-40B4-BE49-F238E27FC236}">
                <a16:creationId xmlns="" xmlns:a16="http://schemas.microsoft.com/office/drawing/2014/main" id="{C38F545F-ED69-E74F-9FBB-5F310AA1CA6D}"/>
              </a:ext>
            </a:extLst>
          </p:cNvPr>
          <p:cNvSpPr/>
          <p:nvPr/>
        </p:nvSpPr>
        <p:spPr>
          <a:xfrm rot="19114996">
            <a:off x="2033354" y="1233816"/>
            <a:ext cx="2452027" cy="3711167"/>
          </a:xfrm>
          <a:prstGeom prst="ellipse">
            <a:avLst/>
          </a:prstGeom>
          <a:solidFill>
            <a:srgbClr val="FF7A00">
              <a:alpha val="6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6924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3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4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pic>
        <p:nvPicPr>
          <p:cNvPr id="62" name="그림 61"/>
          <p:cNvPicPr>
            <a:picLocks noChangeAspect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786569" y="2869564"/>
            <a:ext cx="4343437" cy="2179615"/>
          </a:xfrm>
          <a:prstGeom prst="rect">
            <a:avLst/>
          </a:prstGeom>
        </p:spPr>
      </p:pic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0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직사각형 10"/>
          <p:cNvSpPr/>
          <p:nvPr/>
        </p:nvSpPr>
        <p:spPr>
          <a:xfrm>
            <a:off x="786569" y="2325708"/>
            <a:ext cx="443501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25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CLIP CAM</a:t>
            </a:r>
            <a:r>
              <a:rPr lang="ko-KR" altLang="en-US" sz="25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의</a:t>
            </a:r>
            <a:r>
              <a:rPr lang="en-US" altLang="ko-KR" sz="25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5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기대효과</a:t>
            </a:r>
          </a:p>
        </p:txBody>
      </p:sp>
      <p:grpSp>
        <p:nvGrpSpPr>
          <p:cNvPr id="61" name="그룹 60"/>
          <p:cNvGrpSpPr/>
          <p:nvPr/>
        </p:nvGrpSpPr>
        <p:grpSpPr>
          <a:xfrm>
            <a:off x="4013882" y="861884"/>
            <a:ext cx="5406733" cy="5406733"/>
            <a:chOff x="2290390" y="861884"/>
            <a:chExt cx="5406733" cy="5406733"/>
          </a:xfrm>
        </p:grpSpPr>
        <p:pic>
          <p:nvPicPr>
            <p:cNvPr id="60" name="그림 59"/>
            <p:cNvPicPr>
              <a:picLocks noChangeAspect="1"/>
            </p:cNvPicPr>
            <p:nvPr/>
          </p:nvPicPr>
          <p:blipFill rotWithShape="1">
            <a:blip r:embed="rId8"/>
            <a:stretch>
              <a:fillRect/>
            </a:stretch>
          </p:blipFill>
          <p:spPr>
            <a:xfrm>
              <a:off x="2290390" y="861884"/>
              <a:ext cx="5406733" cy="5406733"/>
            </a:xfrm>
            <a:prstGeom prst="rect">
              <a:avLst/>
            </a:prstGeom>
          </p:spPr>
        </p:pic>
        <p:pic>
          <p:nvPicPr>
            <p:cNvPr id="59" name="그림 58"/>
            <p:cNvPicPr>
              <a:picLocks noChangeAspect="1"/>
            </p:cNvPicPr>
            <p:nvPr/>
          </p:nvPicPr>
          <p:blipFill rotWithShape="1">
            <a:blip r:embed="rId9"/>
            <a:stretch>
              <a:fillRect/>
            </a:stretch>
          </p:blipFill>
          <p:spPr>
            <a:xfrm>
              <a:off x="4093779" y="2392773"/>
              <a:ext cx="2072454" cy="2072454"/>
            </a:xfrm>
            <a:prstGeom prst="rect">
              <a:avLst/>
            </a:prstGeom>
          </p:spPr>
        </p:pic>
      </p:grpSp>
      <p:sp>
        <p:nvSpPr>
          <p:cNvPr id="63" name="직사각형 10"/>
          <p:cNvSpPr/>
          <p:nvPr/>
        </p:nvSpPr>
        <p:spPr>
          <a:xfrm>
            <a:off x="1320104" y="3565250"/>
            <a:ext cx="3276364" cy="85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5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dk1"/>
                </a:solidFill>
                <a:latin typeface="뫼비우스 Bold"/>
                <a:ea typeface="뫼비우스 Bold"/>
              </a:rPr>
              <a:t>SHARING!!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-3)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기대효과 및 활용방안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5769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2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pSp>
        <p:nvGrpSpPr>
          <p:cNvPr id="59" name="그룹 58"/>
          <p:cNvGrpSpPr/>
          <p:nvPr/>
        </p:nvGrpSpPr>
        <p:grpSpPr>
          <a:xfrm>
            <a:off x="942710" y="2842431"/>
            <a:ext cx="2351092" cy="2351092"/>
            <a:chOff x="2290390" y="861884"/>
            <a:chExt cx="5406733" cy="5406733"/>
          </a:xfrm>
        </p:grpSpPr>
        <p:pic>
          <p:nvPicPr>
            <p:cNvPr id="60" name="그림 59"/>
            <p:cNvPicPr>
              <a:picLocks noChangeAspect="1"/>
            </p:cNvPicPr>
            <p:nvPr/>
          </p:nvPicPr>
          <p:blipFill rotWithShape="1">
            <a:blip r:embed="rId7"/>
            <a:stretch>
              <a:fillRect/>
            </a:stretch>
          </p:blipFill>
          <p:spPr>
            <a:xfrm>
              <a:off x="2290390" y="861884"/>
              <a:ext cx="5406733" cy="5406733"/>
            </a:xfrm>
            <a:prstGeom prst="rect">
              <a:avLst/>
            </a:prstGeom>
          </p:spPr>
        </p:pic>
        <p:pic>
          <p:nvPicPr>
            <p:cNvPr id="61" name="그림 60"/>
            <p:cNvPicPr>
              <a:picLocks noChangeAspect="1"/>
            </p:cNvPicPr>
            <p:nvPr/>
          </p:nvPicPr>
          <p:blipFill rotWithShape="1">
            <a:blip r:embed="rId8"/>
            <a:stretch>
              <a:fillRect/>
            </a:stretch>
          </p:blipFill>
          <p:spPr>
            <a:xfrm>
              <a:off x="4093779" y="2392773"/>
              <a:ext cx="2072454" cy="2072454"/>
            </a:xfrm>
            <a:prstGeom prst="rect">
              <a:avLst/>
            </a:prstGeom>
          </p:spPr>
        </p:pic>
      </p:grpSp>
      <p:grpSp>
        <p:nvGrpSpPr>
          <p:cNvPr id="65" name="그룹 64"/>
          <p:cNvGrpSpPr/>
          <p:nvPr/>
        </p:nvGrpSpPr>
        <p:grpSpPr>
          <a:xfrm>
            <a:off x="5598059" y="2138326"/>
            <a:ext cx="4067688" cy="4067688"/>
            <a:chOff x="8226168" y="1549348"/>
            <a:chExt cx="4067688" cy="4067688"/>
          </a:xfrm>
        </p:grpSpPr>
        <p:pic>
          <p:nvPicPr>
            <p:cNvPr id="62" name="그림 61"/>
            <p:cNvPicPr>
              <a:picLocks noChangeAspect="1"/>
            </p:cNvPicPr>
            <p:nvPr/>
          </p:nvPicPr>
          <p:blipFill rotWithShape="1">
            <a:blip r:embed="rId9"/>
            <a:stretch>
              <a:fillRect/>
            </a:stretch>
          </p:blipFill>
          <p:spPr>
            <a:xfrm>
              <a:off x="8226168" y="1549348"/>
              <a:ext cx="4067688" cy="4067688"/>
            </a:xfrm>
            <a:prstGeom prst="rect">
              <a:avLst/>
            </a:prstGeom>
          </p:spPr>
        </p:pic>
        <p:pic>
          <p:nvPicPr>
            <p:cNvPr id="63" name="그림 62"/>
            <p:cNvPicPr>
              <a:picLocks noChangeAspect="1"/>
            </p:cNvPicPr>
            <p:nvPr/>
          </p:nvPicPr>
          <p:blipFill rotWithShape="1">
            <a:blip r:embed="rId10"/>
            <a:stretch>
              <a:fillRect/>
            </a:stretch>
          </p:blipFill>
          <p:spPr>
            <a:xfrm>
              <a:off x="10467314" y="1962496"/>
              <a:ext cx="1826543" cy="1826543"/>
            </a:xfrm>
            <a:prstGeom prst="rect">
              <a:avLst/>
            </a:prstGeom>
          </p:spPr>
        </p:pic>
        <p:pic>
          <p:nvPicPr>
            <p:cNvPr id="64" name="그림 63"/>
            <p:cNvPicPr>
              <a:picLocks noChangeAspect="1"/>
            </p:cNvPicPr>
            <p:nvPr/>
          </p:nvPicPr>
          <p:blipFill rotWithShape="1">
            <a:blip r:embed="rId11"/>
            <a:stretch>
              <a:fillRect/>
            </a:stretch>
          </p:blipFill>
          <p:spPr>
            <a:xfrm>
              <a:off x="8477434" y="3583192"/>
              <a:ext cx="1537995" cy="1537995"/>
            </a:xfrm>
            <a:prstGeom prst="rect">
              <a:avLst/>
            </a:prstGeom>
          </p:spPr>
        </p:pic>
      </p:grp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12"/>
          <a:stretch>
            <a:fillRect/>
          </a:stretch>
        </p:blipFill>
        <p:spPr>
          <a:xfrm rot="5400000">
            <a:off x="3689846" y="3429000"/>
            <a:ext cx="1177955" cy="1177955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 rotWithShape="1">
          <a:blip r:embed="rId13"/>
          <a:srcRect/>
          <a:stretch>
            <a:fillRect/>
          </a:stretch>
        </p:blipFill>
        <p:spPr>
          <a:xfrm>
            <a:off x="2381574" y="788775"/>
            <a:ext cx="5757770" cy="98404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1493602" y="1016732"/>
            <a:ext cx="3744416" cy="173893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0" tIns="0" rIns="0" bIns="0" anchor="t" anchorCtr="0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  <a:defRPr/>
            </a:pPr>
            <a:endParaRPr sz="1200" kern="0">
              <a:latin typeface="+mn-ea"/>
              <a:ea typeface="+mn-ea"/>
            </a:endParaRPr>
          </a:p>
        </p:txBody>
      </p:sp>
      <p:sp>
        <p:nvSpPr>
          <p:cNvPr id="70" name="직사각형 10"/>
          <p:cNvSpPr/>
          <p:nvPr/>
        </p:nvSpPr>
        <p:spPr>
          <a:xfrm>
            <a:off x="2381574" y="1016732"/>
            <a:ext cx="584523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en-US" altLang="ko-KR" sz="2500" b="1" kern="0" dirty="0" smtClean="0">
                <a:latin typeface="+mn-ea"/>
                <a:ea typeface="+mn-ea"/>
              </a:rPr>
              <a:t>“</a:t>
            </a:r>
            <a:r>
              <a:rPr lang="ko-KR" altLang="en-US" sz="2500" b="1" kern="0" dirty="0" smtClean="0">
                <a:latin typeface="+mn-ea"/>
                <a:ea typeface="+mn-ea"/>
              </a:rPr>
              <a:t>아</a:t>
            </a:r>
            <a:r>
              <a:rPr lang="en-US" altLang="ko-KR" sz="2500" b="1" kern="0" dirty="0" smtClean="0">
                <a:latin typeface="+mn-ea"/>
                <a:ea typeface="+mn-ea"/>
              </a:rPr>
              <a:t>! </a:t>
            </a:r>
            <a:r>
              <a:rPr lang="ko-KR" altLang="en-US" sz="2500" b="1" kern="0" dirty="0" smtClean="0">
                <a:latin typeface="+mn-ea"/>
                <a:ea typeface="+mn-ea"/>
              </a:rPr>
              <a:t>이건 좀</a:t>
            </a:r>
            <a:r>
              <a:rPr lang="en-US" altLang="ko-KR" sz="2500" b="1" kern="0" dirty="0" smtClean="0">
                <a:latin typeface="+mn-ea"/>
                <a:ea typeface="+mn-ea"/>
              </a:rPr>
              <a:t>...” </a:t>
            </a:r>
            <a:r>
              <a:rPr lang="ko-KR" altLang="en-US" sz="2500" b="1" kern="0" dirty="0" smtClean="0">
                <a:latin typeface="+mn-ea"/>
                <a:ea typeface="+mn-ea"/>
              </a:rPr>
              <a:t>영상 </a:t>
            </a:r>
            <a:r>
              <a:rPr lang="ko-KR" altLang="en-US" sz="2500" b="1" kern="0" dirty="0" smtClean="0">
                <a:latin typeface="+mn-ea"/>
                <a:ea typeface="+mn-ea"/>
              </a:rPr>
              <a:t>증거 확보 및 공유</a:t>
            </a:r>
            <a:endParaRPr lang="ko-KR" sz="2500" b="1" kern="0" dirty="0">
              <a:latin typeface="+mn-ea"/>
              <a:ea typeface="+mn-ea"/>
            </a:endParaRPr>
          </a:p>
        </p:txBody>
      </p:sp>
      <p:sp>
        <p:nvSpPr>
          <p:cNvPr id="71" name="직사각형 10"/>
          <p:cNvSpPr/>
          <p:nvPr/>
        </p:nvSpPr>
        <p:spPr>
          <a:xfrm rot="21033886">
            <a:off x="488356" y="2272921"/>
            <a:ext cx="4376803" cy="393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en-US" altLang="ko-KR" sz="2000" b="1" kern="0">
                <a:solidFill>
                  <a:srgbClr val="FF0000"/>
                </a:solidFill>
                <a:latin typeface="+mn-ea"/>
                <a:ea typeface="+mn-ea"/>
              </a:rPr>
              <a:t>oo </a:t>
            </a:r>
            <a:r>
              <a:rPr lang="ko-KR" altLang="en-US" sz="2000" b="1" kern="0">
                <a:solidFill>
                  <a:srgbClr val="FF0000"/>
                </a:solidFill>
                <a:latin typeface="+mn-ea"/>
                <a:ea typeface="+mn-ea"/>
              </a:rPr>
              <a:t>백화점 </a:t>
            </a:r>
            <a:r>
              <a:rPr lang="en-US" altLang="ko-KR" sz="2000" b="1" kern="0">
                <a:solidFill>
                  <a:srgbClr val="FF0000"/>
                </a:solidFill>
                <a:latin typeface="+mn-ea"/>
                <a:ea typeface="+mn-ea"/>
              </a:rPr>
              <a:t>oo</a:t>
            </a:r>
            <a:r>
              <a:rPr lang="ko-KR" altLang="en-US" sz="2000" b="1" kern="0">
                <a:solidFill>
                  <a:srgbClr val="FF0000"/>
                </a:solidFill>
                <a:latin typeface="+mn-ea"/>
                <a:ea typeface="+mn-ea"/>
              </a:rPr>
              <a:t> 매장 도둑 잡아라</a:t>
            </a:r>
            <a:r>
              <a:rPr lang="en-US" altLang="ko-KR" sz="2000" b="1" kern="0">
                <a:solidFill>
                  <a:srgbClr val="FF0000"/>
                </a:solidFill>
                <a:latin typeface="+mn-ea"/>
                <a:ea typeface="+mn-ea"/>
              </a:rPr>
              <a:t>!!</a:t>
            </a:r>
          </a:p>
        </p:txBody>
      </p:sp>
      <p:sp>
        <p:nvSpPr>
          <p:cNvPr id="72" name="직사각형 10"/>
          <p:cNvSpPr/>
          <p:nvPr/>
        </p:nvSpPr>
        <p:spPr>
          <a:xfrm rot="356088">
            <a:off x="858573" y="5235775"/>
            <a:ext cx="4376803" cy="393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ko-KR" altLang="en-US" sz="2000" b="1" kern="0">
                <a:solidFill>
                  <a:srgbClr val="FF0000"/>
                </a:solidFill>
                <a:latin typeface="+mn-ea"/>
                <a:ea typeface="+mn-ea"/>
              </a:rPr>
              <a:t>성추행범 인상착의는 </a:t>
            </a:r>
            <a:r>
              <a:rPr lang="en-US" altLang="ko-KR" sz="2000" b="1" kern="0">
                <a:solidFill>
                  <a:srgbClr val="FF0000"/>
                </a:solidFill>
                <a:latin typeface="+mn-ea"/>
                <a:ea typeface="+mn-ea"/>
              </a:rPr>
              <a:t>oooo!!</a:t>
            </a:r>
          </a:p>
        </p:txBody>
      </p:sp>
    </p:spTree>
    <p:extLst>
      <p:ext uri="{BB962C8B-B14F-4D97-AF65-F5344CB8AC3E}">
        <p14:creationId xmlns:p14="http://schemas.microsoft.com/office/powerpoint/2010/main" val="87354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56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pSp>
        <p:nvGrpSpPr>
          <p:cNvPr id="59" name="그룹 58"/>
          <p:cNvGrpSpPr/>
          <p:nvPr/>
        </p:nvGrpSpPr>
        <p:grpSpPr>
          <a:xfrm>
            <a:off x="942710" y="2842431"/>
            <a:ext cx="2351092" cy="2351092"/>
            <a:chOff x="2290390" y="861884"/>
            <a:chExt cx="5406733" cy="5406733"/>
          </a:xfrm>
        </p:grpSpPr>
        <p:pic>
          <p:nvPicPr>
            <p:cNvPr id="60" name="그림 59"/>
            <p:cNvPicPr>
              <a:picLocks noChangeAspect="1"/>
            </p:cNvPicPr>
            <p:nvPr/>
          </p:nvPicPr>
          <p:blipFill rotWithShape="1">
            <a:blip r:embed="rId7"/>
            <a:stretch>
              <a:fillRect/>
            </a:stretch>
          </p:blipFill>
          <p:spPr>
            <a:xfrm>
              <a:off x="2290390" y="861884"/>
              <a:ext cx="5406733" cy="5406733"/>
            </a:xfrm>
            <a:prstGeom prst="rect">
              <a:avLst/>
            </a:prstGeom>
          </p:spPr>
        </p:pic>
        <p:pic>
          <p:nvPicPr>
            <p:cNvPr id="61" name="그림 60"/>
            <p:cNvPicPr>
              <a:picLocks noChangeAspect="1"/>
            </p:cNvPicPr>
            <p:nvPr/>
          </p:nvPicPr>
          <p:blipFill rotWithShape="1">
            <a:blip r:embed="rId8"/>
            <a:stretch>
              <a:fillRect/>
            </a:stretch>
          </p:blipFill>
          <p:spPr>
            <a:xfrm>
              <a:off x="4093779" y="2392773"/>
              <a:ext cx="2072454" cy="2072454"/>
            </a:xfrm>
            <a:prstGeom prst="rect">
              <a:avLst/>
            </a:prstGeom>
          </p:spPr>
        </p:pic>
      </p:grp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 rot="5400000">
            <a:off x="3689846" y="3429000"/>
            <a:ext cx="1177955" cy="1177955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 rotWithShape="1">
          <a:blip r:embed="rId10"/>
          <a:srcRect/>
          <a:stretch>
            <a:fillRect/>
          </a:stretch>
        </p:blipFill>
        <p:spPr>
          <a:xfrm>
            <a:off x="2373157" y="788775"/>
            <a:ext cx="5757770" cy="98404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1493602" y="1016732"/>
            <a:ext cx="3744416" cy="173893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0" tIns="0" rIns="0" bIns="0" anchor="t" anchorCtr="0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  <a:defRPr/>
            </a:pPr>
            <a:endParaRPr sz="1200" kern="0">
              <a:latin typeface="+mn-ea"/>
              <a:ea typeface="+mn-ea"/>
            </a:endParaRPr>
          </a:p>
        </p:txBody>
      </p:sp>
      <p:sp>
        <p:nvSpPr>
          <p:cNvPr id="70" name="직사각형 10"/>
          <p:cNvSpPr/>
          <p:nvPr/>
        </p:nvSpPr>
        <p:spPr>
          <a:xfrm>
            <a:off x="2703714" y="1083173"/>
            <a:ext cx="4852584" cy="467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ko-KR" sz="2500" b="1" kern="0">
                <a:latin typeface="+mn-ea"/>
                <a:ea typeface="+mn-ea"/>
              </a:rPr>
              <a:t>소상공인 및 기업의 홍보 효과</a:t>
            </a:r>
          </a:p>
        </p:txBody>
      </p:sp>
      <p:pic>
        <p:nvPicPr>
          <p:cNvPr id="71" name="그림 70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 rot="20615156">
            <a:off x="5454042" y="2392581"/>
            <a:ext cx="3250793" cy="3250793"/>
          </a:xfrm>
          <a:prstGeom prst="rect">
            <a:avLst/>
          </a:prstGeom>
        </p:spPr>
      </p:pic>
      <p:pic>
        <p:nvPicPr>
          <p:cNvPr id="72" name="그림 71"/>
          <p:cNvPicPr>
            <a:picLocks noChangeAspect="1"/>
          </p:cNvPicPr>
          <p:nvPr/>
        </p:nvPicPr>
        <p:blipFill rotWithShape="1">
          <a:blip r:embed="rId12"/>
          <a:stretch>
            <a:fillRect/>
          </a:stretch>
        </p:blipFill>
        <p:spPr>
          <a:xfrm>
            <a:off x="8130927" y="4586543"/>
            <a:ext cx="1213959" cy="1213959"/>
          </a:xfrm>
          <a:prstGeom prst="rect">
            <a:avLst/>
          </a:prstGeom>
        </p:spPr>
      </p:pic>
      <p:sp>
        <p:nvSpPr>
          <p:cNvPr id="76" name="직사각형 10"/>
          <p:cNvSpPr/>
          <p:nvPr/>
        </p:nvSpPr>
        <p:spPr>
          <a:xfrm rot="21033886">
            <a:off x="488356" y="2272921"/>
            <a:ext cx="4376803" cy="393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ko-KR" altLang="en-US" sz="2000" b="1" kern="0">
                <a:solidFill>
                  <a:srgbClr val="29B969"/>
                </a:solidFill>
                <a:latin typeface="+mn-ea"/>
                <a:ea typeface="+mn-ea"/>
              </a:rPr>
              <a:t>휴일인데</a:t>
            </a:r>
            <a:r>
              <a:rPr lang="en-US" altLang="ko-KR" sz="2000" b="1" kern="0">
                <a:solidFill>
                  <a:srgbClr val="29B969"/>
                </a:solidFill>
                <a:latin typeface="+mn-ea"/>
                <a:ea typeface="+mn-ea"/>
              </a:rPr>
              <a:t> </a:t>
            </a:r>
            <a:r>
              <a:rPr lang="ko-KR" altLang="en-US" sz="2000" b="1" kern="0">
                <a:solidFill>
                  <a:srgbClr val="29B969"/>
                </a:solidFill>
                <a:latin typeface="+mn-ea"/>
                <a:ea typeface="+mn-ea"/>
              </a:rPr>
              <a:t>놀이동산이 한가하다니</a:t>
            </a:r>
            <a:r>
              <a:rPr lang="en-US" altLang="ko-KR" sz="2000" b="1" kern="0">
                <a:solidFill>
                  <a:srgbClr val="29B969"/>
                </a:solidFill>
                <a:latin typeface="+mn-ea"/>
                <a:ea typeface="+mn-ea"/>
              </a:rPr>
              <a:t>~</a:t>
            </a:r>
          </a:p>
        </p:txBody>
      </p:sp>
      <p:sp>
        <p:nvSpPr>
          <p:cNvPr id="77" name="직사각형 10"/>
          <p:cNvSpPr/>
          <p:nvPr/>
        </p:nvSpPr>
        <p:spPr>
          <a:xfrm rot="643820">
            <a:off x="515312" y="5549612"/>
            <a:ext cx="4376803" cy="393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ko-KR" altLang="en-US" sz="2000" b="1" kern="0">
                <a:solidFill>
                  <a:srgbClr val="29B969"/>
                </a:solidFill>
                <a:latin typeface="+mn-ea"/>
                <a:ea typeface="+mn-ea"/>
              </a:rPr>
              <a:t>맛집은 이시간대에 오셔야죠 ㅎㅎ</a:t>
            </a:r>
          </a:p>
        </p:txBody>
      </p:sp>
    </p:spTree>
    <p:extLst>
      <p:ext uri="{BB962C8B-B14F-4D97-AF65-F5344CB8AC3E}">
        <p14:creationId xmlns:p14="http://schemas.microsoft.com/office/powerpoint/2010/main" val="367339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그림 78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5477463" y="1916831"/>
            <a:ext cx="4157669" cy="4157669"/>
          </a:xfrm>
          <a:prstGeom prst="rect">
            <a:avLst/>
          </a:prstGeom>
        </p:spPr>
      </p:pic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pSp>
        <p:nvGrpSpPr>
          <p:cNvPr id="59" name="그룹 58"/>
          <p:cNvGrpSpPr/>
          <p:nvPr/>
        </p:nvGrpSpPr>
        <p:grpSpPr>
          <a:xfrm>
            <a:off x="942710" y="2842431"/>
            <a:ext cx="2351092" cy="2351092"/>
            <a:chOff x="2290390" y="861884"/>
            <a:chExt cx="5406733" cy="5406733"/>
          </a:xfrm>
        </p:grpSpPr>
        <p:pic>
          <p:nvPicPr>
            <p:cNvPr id="60" name="그림 59"/>
            <p:cNvPicPr>
              <a:picLocks noChangeAspect="1"/>
            </p:cNvPicPr>
            <p:nvPr/>
          </p:nvPicPr>
          <p:blipFill rotWithShape="1">
            <a:blip r:embed="rId3"/>
            <a:stretch>
              <a:fillRect/>
            </a:stretch>
          </p:blipFill>
          <p:spPr>
            <a:xfrm>
              <a:off x="2290390" y="861884"/>
              <a:ext cx="5406733" cy="5406733"/>
            </a:xfrm>
            <a:prstGeom prst="rect">
              <a:avLst/>
            </a:prstGeom>
          </p:spPr>
        </p:pic>
        <p:pic>
          <p:nvPicPr>
            <p:cNvPr id="61" name="그림 60"/>
            <p:cNvPicPr>
              <a:picLocks noChangeAspect="1"/>
            </p:cNvPicPr>
            <p:nvPr/>
          </p:nvPicPr>
          <p:blipFill rotWithShape="1">
            <a:blip r:embed="rId8"/>
            <a:stretch>
              <a:fillRect/>
            </a:stretch>
          </p:blipFill>
          <p:spPr>
            <a:xfrm>
              <a:off x="4093779" y="2392773"/>
              <a:ext cx="2072454" cy="2072454"/>
            </a:xfrm>
            <a:prstGeom prst="rect">
              <a:avLst/>
            </a:prstGeom>
          </p:spPr>
        </p:pic>
      </p:grp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 rot="5400000">
            <a:off x="3689846" y="3429000"/>
            <a:ext cx="1177955" cy="1177955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 rotWithShape="1">
          <a:blip r:embed="rId10"/>
          <a:srcRect/>
          <a:stretch>
            <a:fillRect/>
          </a:stretch>
        </p:blipFill>
        <p:spPr>
          <a:xfrm>
            <a:off x="2373157" y="788775"/>
            <a:ext cx="5757770" cy="98404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1493602" y="1016732"/>
            <a:ext cx="3744416" cy="173893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0" tIns="0" rIns="0" bIns="0" anchor="t" anchorCtr="0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  <a:defRPr/>
            </a:pPr>
            <a:endParaRPr sz="1200" kern="0">
              <a:latin typeface="+mn-ea"/>
              <a:ea typeface="+mn-ea"/>
            </a:endParaRPr>
          </a:p>
        </p:txBody>
      </p:sp>
      <p:sp>
        <p:nvSpPr>
          <p:cNvPr id="70" name="직사각형 10"/>
          <p:cNvSpPr/>
          <p:nvPr/>
        </p:nvSpPr>
        <p:spPr>
          <a:xfrm>
            <a:off x="2703714" y="1083173"/>
            <a:ext cx="485258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ko-KR" altLang="en-US" sz="2500" b="1" kern="0" dirty="0" smtClean="0">
                <a:latin typeface="+mn-ea"/>
                <a:ea typeface="+mn-ea"/>
              </a:rPr>
              <a:t>사용자</a:t>
            </a:r>
            <a:r>
              <a:rPr lang="ko-KR" sz="2500" b="1" kern="0" dirty="0" smtClean="0">
                <a:latin typeface="+mn-ea"/>
                <a:ea typeface="+mn-ea"/>
              </a:rPr>
              <a:t>의 </a:t>
            </a:r>
            <a:r>
              <a:rPr lang="ko-KR" sz="2500" b="1" kern="0" dirty="0">
                <a:latin typeface="+mn-ea"/>
                <a:ea typeface="+mn-ea"/>
              </a:rPr>
              <a:t>일상 공</a:t>
            </a:r>
            <a:r>
              <a:rPr lang="ko-KR" altLang="en-US" sz="2500" b="1" kern="0" dirty="0">
                <a:latin typeface="+mn-ea"/>
                <a:ea typeface="+mn-ea"/>
              </a:rPr>
              <a:t>유 즐거움</a:t>
            </a:r>
          </a:p>
        </p:txBody>
      </p:sp>
      <p:sp>
        <p:nvSpPr>
          <p:cNvPr id="76" name="직사각형 10"/>
          <p:cNvSpPr/>
          <p:nvPr/>
        </p:nvSpPr>
        <p:spPr>
          <a:xfrm rot="21033886">
            <a:off x="488356" y="2272921"/>
            <a:ext cx="4376803" cy="393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ko-KR" altLang="en-US" sz="2000" b="1" kern="0">
                <a:solidFill>
                  <a:srgbClr val="29B969"/>
                </a:solidFill>
                <a:latin typeface="+mn-ea"/>
                <a:ea typeface="+mn-ea"/>
              </a:rPr>
              <a:t>이 상황이 너무 웃기다 ㅋㅋㅋㅋ</a:t>
            </a:r>
          </a:p>
        </p:txBody>
      </p:sp>
      <p:sp>
        <p:nvSpPr>
          <p:cNvPr id="77" name="직사각형 10"/>
          <p:cNvSpPr/>
          <p:nvPr/>
        </p:nvSpPr>
        <p:spPr>
          <a:xfrm rot="643820">
            <a:off x="515312" y="5549612"/>
            <a:ext cx="4376803" cy="393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spcBef>
                <a:spcPct val="20000"/>
              </a:spcBef>
              <a:buSzPct val="120000"/>
              <a:defRPr/>
            </a:pPr>
            <a:r>
              <a:rPr lang="en-US" altLang="ko-KR" sz="2000" b="1" kern="0">
                <a:solidFill>
                  <a:srgbClr val="29B969"/>
                </a:solidFill>
                <a:latin typeface="+mn-ea"/>
                <a:ea typeface="+mn-ea"/>
              </a:rPr>
              <a:t>ooo</a:t>
            </a:r>
            <a:r>
              <a:rPr lang="ko-KR" altLang="en-US" sz="2000" b="1" kern="0">
                <a:solidFill>
                  <a:srgbClr val="29B969"/>
                </a:solidFill>
                <a:latin typeface="+mn-ea"/>
                <a:ea typeface="+mn-ea"/>
              </a:rPr>
              <a:t> 봐바 완전 바보야 </a:t>
            </a:r>
            <a:r>
              <a:rPr lang="en-US" altLang="ko-KR" sz="2000" b="1" kern="0">
                <a:solidFill>
                  <a:srgbClr val="29B969"/>
                </a:solidFill>
                <a:latin typeface="+mn-ea"/>
                <a:ea typeface="+mn-ea"/>
              </a:rPr>
              <a:t>&gt;&lt;</a:t>
            </a:r>
          </a:p>
        </p:txBody>
      </p:sp>
      <p:pic>
        <p:nvPicPr>
          <p:cNvPr id="78" name="그림 77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>
            <a:off x="6894202" y="2977579"/>
            <a:ext cx="1629375" cy="162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6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177006" y="0"/>
            <a:ext cx="9922598" cy="6858000"/>
          </a:xfrm>
          <a:prstGeom prst="rect">
            <a:avLst/>
          </a:prstGeom>
          <a:pattFill prst="lt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pc="-150" dirty="0">
              <a:latin typeface="Century Gothic" panose="020B0502020202020204" pitchFamily="34" charset="0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xmlns="" id="{234FE5C1-F5BE-4BA0-BAC8-BE057FE360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78" b="27643"/>
          <a:stretch/>
        </p:blipFill>
        <p:spPr>
          <a:xfrm>
            <a:off x="173346" y="-1"/>
            <a:ext cx="9909660" cy="4332849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3059907" y="4491394"/>
            <a:ext cx="66716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ko-KR" altLang="en-US" sz="48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아이디어 구현 </a:t>
            </a:r>
            <a:r>
              <a:rPr lang="ko-KR" altLang="en-US" sz="48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진행상황</a:t>
            </a:r>
            <a:endParaRPr lang="ko-KR" altLang="en-US" sz="48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77006" y="4303643"/>
            <a:ext cx="9922598" cy="141749"/>
          </a:xfrm>
          <a:prstGeom prst="rect">
            <a:avLst/>
          </a:pr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466769" y="4303643"/>
            <a:ext cx="3632835" cy="141749"/>
          </a:xfrm>
          <a:prstGeom prst="rect">
            <a:avLst/>
          </a:prstGeom>
          <a:solidFill>
            <a:srgbClr val="FF7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77007" y="1"/>
            <a:ext cx="9930897" cy="4303641"/>
          </a:xfrm>
          <a:prstGeom prst="rect">
            <a:avLst/>
          </a:prstGeom>
          <a:solidFill>
            <a:schemeClr val="tx1">
              <a:lumMod val="95000"/>
              <a:lumOff val="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1537" y="319207"/>
            <a:ext cx="1088856" cy="349473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7768459" y="3092862"/>
            <a:ext cx="21268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en-US" altLang="ko-KR" sz="96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03</a:t>
            </a:r>
            <a:endParaRPr lang="ko-KR" altLang="en-US" sz="96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466769" y="5371156"/>
            <a:ext cx="36328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-1)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메인 프레임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486397" y="5755261"/>
            <a:ext cx="36328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-2)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466768" y="6107957"/>
            <a:ext cx="36328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-3) Android App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112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1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1" y="80628"/>
            <a:ext cx="102600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b="1" dirty="0" smtClean="0">
                <a:latin typeface="+mn-ea"/>
                <a:ea typeface="+mn-ea"/>
              </a:rPr>
              <a:t>동의서 작성 </a:t>
            </a:r>
            <a:r>
              <a:rPr lang="en-US" altLang="ko-KR" sz="2400" b="1" dirty="0" smtClean="0">
                <a:latin typeface="+mn-ea"/>
                <a:ea typeface="+mn-ea"/>
              </a:rPr>
              <a:t>1/3</a:t>
            </a:r>
            <a:endParaRPr lang="ko-KR" altLang="en-US" sz="2400" b="1" dirty="0">
              <a:latin typeface="+mn-ea"/>
              <a:ea typeface="+mn-e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2E0BF43-C5C0-4E11-9919-4657C141C1EC}"/>
              </a:ext>
            </a:extLst>
          </p:cNvPr>
          <p:cNvSpPr txBox="1"/>
          <p:nvPr/>
        </p:nvSpPr>
        <p:spPr>
          <a:xfrm>
            <a:off x="449486" y="836712"/>
            <a:ext cx="9875909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Cloud CAM </a:t>
            </a:r>
            <a:r>
              <a:rPr kumimoji="0" lang="ko-KR" altLang="ko-KR" sz="12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개발 </a:t>
            </a:r>
            <a:r>
              <a:rPr kumimoji="0" lang="ko-KR" altLang="ko-KR" sz="1200" b="1" dirty="0">
                <a:solidFill>
                  <a:prstClr val="black"/>
                </a:solidFill>
                <a:latin typeface="맑은 고딕"/>
                <a:ea typeface="맑은 고딕"/>
              </a:rPr>
              <a:t>및 아이디어 공모전 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b="1" dirty="0">
                <a:solidFill>
                  <a:prstClr val="black"/>
                </a:solidFill>
                <a:latin typeface="맑은 고딕"/>
                <a:ea typeface="맑은 고딕"/>
              </a:rPr>
              <a:t>사전 동의 사항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 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>
                <a:solidFill>
                  <a:srgbClr val="FF0000"/>
                </a:solidFill>
                <a:latin typeface="맑은 고딕"/>
                <a:ea typeface="맑은 고딕"/>
              </a:rPr>
              <a:t>‘</a:t>
            </a:r>
            <a:r>
              <a:rPr kumimoji="0" lang="ko-KR" altLang="en-US" sz="1200" dirty="0">
                <a:solidFill>
                  <a:srgbClr val="FF0000"/>
                </a:solidFill>
                <a:latin typeface="맑은 고딕"/>
                <a:ea typeface="맑은 고딕"/>
              </a:rPr>
              <a:t>블루스크린</a:t>
            </a:r>
            <a:r>
              <a:rPr kumimoji="0" lang="en-US" altLang="ko-KR" sz="1200" dirty="0">
                <a:solidFill>
                  <a:srgbClr val="FF0000"/>
                </a:solidFill>
                <a:latin typeface="맑은 고딕"/>
                <a:ea typeface="맑은 고딕"/>
              </a:rPr>
              <a:t>’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은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SK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주식회사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하 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의 </a:t>
            </a: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‘Cloud CAM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영상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API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신규 서비스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개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및 아이디어 공모전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에 제안함에 있어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다음의 사항을 숙지하고 있음을 확인하고 이에 동의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가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아이디어를 ‘제안’하는 “제안자”의 권리 보호를 위하여 다음 사항에 대하여 유의하시기 바랍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228600" indent="-228600" fontAlgn="auto" latinLnBrk="0">
              <a:spcBef>
                <a:spcPts val="0"/>
              </a:spcBef>
              <a:spcAft>
                <a:spcPts val="0"/>
              </a:spcAft>
              <a:buFontTx/>
              <a:buAutoNum type="arabicParenR"/>
            </a:pP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‘제안’을 제출하기 전에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‘제안’에 대하여 특허권ㆍ실용신안권ㆍ저작권 등 지적 재산권을 확보하여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둘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것을 권장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러한 조치를 취하지 않으실 경우 ‘제안’으로 인하여 향후 “제안자”의 지적재산권 취득에 영향이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미칠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수도 있습니다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</a:p>
          <a:p>
            <a:pPr marL="228600" indent="-228600" fontAlgn="auto" latinLnBrk="0">
              <a:spcBef>
                <a:spcPts val="0"/>
              </a:spcBef>
              <a:spcAft>
                <a:spcPts val="0"/>
              </a:spcAft>
              <a:buFontTx/>
              <a:buAutoNum type="arabicParenR"/>
            </a:pP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자”는 ‘제안’의 내용에 영업 비밀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기타 비밀로 하여야 할 정보 등이 포함되지 않도록 주의하여 주시기 바랍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그럼에도 불구하고 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SK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의 프라이버시와 관련한 사항이나 ‘제안’ 아이디어에 대하여 ‘제안’의 접수 심사 등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단계별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비밀 유지가 되도록 최선의 노력을 할 것입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‘제안’하는 아이디어는 “제안자”가 직접 창안하거나 전적인 권리를 보유하고 있어야 하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타인의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아이디어를 모방하는 것이나 표절 시비의 가능성이 있는 것은 ‘제안’할 수 없으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를 위반하여 발생하는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모든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분쟁에 대해서는 “제안자”가 해결하여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자”는 ‘제안’ 당시에 위 특허권ㆍ실용신안권ㆍ저작권 등의 등록ㆍ출원 사실이 있는 경우 그 출원 및 등록 사실을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반드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명시하여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2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직접 창안하지 않은 ‘제안’을 제출할 경우 원 창안자로부터 권리를 양도 받았거나 이용 허락을 받은 것이어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제출하는 ‘제안’은 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자의 특허권ㆍ실용신안권ㆍ저작권 등의 지적 재산권을 침해하지 않는 것이어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채택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‘제안’에 대하여 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자로부터 특허권ㆍ실용신안권ㆍ저작권 등의 지적 재산권 침해와 관련한 이의가 제기된 경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그 ‘제안’ 채택을 취소할 수 있습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4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제출하는 ‘제안’은 국내ㆍ외의 공모전이나 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자의 사업에서 채택 또는 실시되지 않은 ‘제안’이어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상기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사실이 발견될 경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‘제안’ 채택 발표 후에라도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‘제안’ 채택을 취소할 수 있습니다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다음 페이지에 계속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69132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2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1)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메인 프레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74724" y="2244024"/>
            <a:ext cx="5275362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AutoNum type="arabicPeriod"/>
            </a:pP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로그인 자동화</a:t>
            </a:r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Selenium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으로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hrome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웹 드라이버를 활용해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SKB </a:t>
            </a:r>
            <a:r>
              <a:rPr lang="ko-KR" altLang="en-US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클라우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캠에 접근합니다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marL="171450" lvl="0" indent="-171450">
              <a:buFontTx/>
              <a:buChar char="-"/>
            </a:pP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est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용 이므로 부여 받은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am id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 접근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실제론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ser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의 보유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am id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별로 다른 캠 접근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) Test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용으로 부여 받은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id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와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pw(API_TEST04 , 1q2w3e4r5t)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를 로그인 창에서 입력 후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login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버튼 클릭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실제에선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ser id, pw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정보로 로그인 실행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element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명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serId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key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값으로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API_TEST04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전송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e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lement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명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password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key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값으로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q2w3e4r5t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전송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@id="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loginBtn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의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Xpath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값으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[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그인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]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버튼 클릭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8"/>
          <a:srcRect l="32103" t="16639" r="32103" b="12715"/>
          <a:stretch/>
        </p:blipFill>
        <p:spPr>
          <a:xfrm>
            <a:off x="6415202" y="1592796"/>
            <a:ext cx="2992333" cy="33612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모서리가 둥근 직사각형 2"/>
          <p:cNvSpPr/>
          <p:nvPr/>
        </p:nvSpPr>
        <p:spPr>
          <a:xfrm>
            <a:off x="6884595" y="4293096"/>
            <a:ext cx="1980220" cy="226236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74724" y="1592796"/>
            <a:ext cx="52753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0.    Python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기반으로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의 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flask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상에서 동작</a:t>
            </a:r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77822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1)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메인 프레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8"/>
          <a:srcRect r="30698"/>
          <a:stretch/>
        </p:blipFill>
        <p:spPr>
          <a:xfrm>
            <a:off x="6138118" y="1876322"/>
            <a:ext cx="3727723" cy="31728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직사각형 8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21012" y="1612348"/>
            <a:ext cx="5544616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 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</a:t>
            </a:r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그인 </a:t>
            </a:r>
            <a:r>
              <a:rPr lang="ko-KR" altLang="en-US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성공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접근한 주소는 오른쪽과 같이 영상 다운로드를 요청할 가능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9"/>
              </a:rPr>
              <a:t>https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9"/>
              </a:rPr>
              <a:t>://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9"/>
              </a:rPr>
              <a:t>cloudcam.skbroadband.com/do/front/dashboard/cameraInfo?camId=117252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</a:t>
            </a:r>
          </a:p>
          <a:p>
            <a:pPr marL="171450" lvl="0" indent="-171450">
              <a:buFontTx/>
              <a:buChar char="-"/>
            </a:pP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amId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 따라 다른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am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영상 접근 가능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) 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녹화 영상 다운로드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” button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xpath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값으로 클릭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)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“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녹화 영상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”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팝업에서 사용자가 설정한 길이의 클립을 다운로드 요청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ko-KR" altLang="en-US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프로토타입은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시작 시점을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default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인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0</a:t>
            </a:r>
            <a:r>
              <a:rPr lang="ko-KR" altLang="en-US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분전부터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진행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ko-KR" altLang="en-US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프로토타입은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클립의 길이는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분의 짧은 영상으로 생성 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indent="-171450">
              <a:buFontTx/>
              <a:buChar char="-"/>
            </a:pP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요청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”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button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xpath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값으로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클릭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9540194" y="4581128"/>
            <a:ext cx="314429" cy="26224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82771" y="4581128"/>
            <a:ext cx="3126984" cy="15479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모서리가 둥근 직사각형 12"/>
          <p:cNvSpPr/>
          <p:nvPr/>
        </p:nvSpPr>
        <p:spPr>
          <a:xfrm>
            <a:off x="2531834" y="5530128"/>
            <a:ext cx="314429" cy="26224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2217405" y="5883997"/>
            <a:ext cx="628858" cy="186191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901218" y="5279048"/>
            <a:ext cx="826668" cy="25108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2" name="굽은 화살표 11"/>
          <p:cNvSpPr/>
          <p:nvPr/>
        </p:nvSpPr>
        <p:spPr>
          <a:xfrm rot="10800000">
            <a:off x="4805970" y="5279048"/>
            <a:ext cx="4734224" cy="791140"/>
          </a:xfrm>
          <a:prstGeom prst="bentArrow">
            <a:avLst>
              <a:gd name="adj1" fmla="val 16147"/>
              <a:gd name="adj2" fmla="val 25000"/>
              <a:gd name="adj3" fmla="val 25000"/>
              <a:gd name="adj4" fmla="val 43750"/>
            </a:avLst>
          </a:prstGeom>
          <a:solidFill>
            <a:srgbClr val="FF7A00"/>
          </a:solidFill>
          <a:ln w="3175" cap="flat" cmpd="sng" algn="ctr">
            <a:solidFill>
              <a:srgbClr val="EA002C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45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1)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메인 프레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21012" y="1612348"/>
            <a:ext cx="5544616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 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</a:t>
            </a:r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4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 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요청  확인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”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button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xpath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값으로 클릭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5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영상 내보내기 성공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61651" y="1612348"/>
            <a:ext cx="3650357" cy="22646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65628" y="4632088"/>
            <a:ext cx="3620225" cy="14597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모서리가 둥근 직사각형 9"/>
          <p:cNvSpPr/>
          <p:nvPr/>
        </p:nvSpPr>
        <p:spPr>
          <a:xfrm>
            <a:off x="7062150" y="3605920"/>
            <a:ext cx="826668" cy="25108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7277434" y="5495816"/>
            <a:ext cx="1200943" cy="453464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2" name="아래쪽 화살표 11"/>
          <p:cNvSpPr/>
          <p:nvPr/>
        </p:nvSpPr>
        <p:spPr>
          <a:xfrm>
            <a:off x="7470266" y="4149080"/>
            <a:ext cx="648072" cy="324036"/>
          </a:xfrm>
          <a:prstGeom prst="downArrow">
            <a:avLst/>
          </a:prstGeom>
          <a:solidFill>
            <a:srgbClr val="FF7A00"/>
          </a:solidFill>
          <a:ln w="3175" cap="flat" cmpd="sng" algn="ctr">
            <a:solidFill>
              <a:srgbClr val="EA002C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928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6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1)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메인 프레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21012" y="1612348"/>
            <a:ext cx="7381302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생성된 비디오 클립을 서버로 다운로드</a:t>
            </a:r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“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요청 이력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” (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8"/>
              </a:rPr>
              <a:t>https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8"/>
              </a:rPr>
              <a:t>://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8"/>
              </a:rPr>
              <a:t>cloudcam.skbroadband.com/do/front/mypage/serviceDownloadList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접근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장 최근의 요청 이력은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[1]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이며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 버튼은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d[5]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존재하므로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xpath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'//*[@id="section"]/div/div/div/div/table/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body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/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[1]/td[5]/div/button').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send_keys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Keys.ENTER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접근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8895" y="3218552"/>
            <a:ext cx="6533925" cy="2589840"/>
          </a:xfrm>
          <a:prstGeom prst="rect">
            <a:avLst/>
          </a:prstGeom>
        </p:spPr>
      </p:pic>
      <p:sp>
        <p:nvSpPr>
          <p:cNvPr id="10" name="모서리가 둥근 직사각형 9"/>
          <p:cNvSpPr/>
          <p:nvPr/>
        </p:nvSpPr>
        <p:spPr>
          <a:xfrm>
            <a:off x="7291976" y="4833156"/>
            <a:ext cx="826668" cy="25108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14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1)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메인 프레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="" xmlns:a16="http://schemas.microsoft.com/office/drawing/2014/main" id="{E403620E-DA9D-0C42-9187-60ACFAB2C26B}"/>
              </a:ext>
            </a:extLst>
          </p:cNvPr>
          <p:cNvSpPr/>
          <p:nvPr/>
        </p:nvSpPr>
        <p:spPr>
          <a:xfrm>
            <a:off x="521012" y="1612348"/>
            <a:ext cx="8389414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생성된 비디오 클립을 서버로 다운로드</a:t>
            </a:r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20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생성되는 탭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[2])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의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d[2]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는 다운로드 될  파일명이 존재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4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페이지 소스코드에서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&lt;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div class="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xtLeft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mal10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"&gt;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 시작하는 문자열 형태의 파일명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~.mp4)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정규식을 이용해 수집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filenam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으로 저장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</a:t>
            </a: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5)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[2]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의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d[3]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인 다운로드 버튼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elemen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를 </a:t>
            </a:r>
            <a:r>
              <a:rPr lang="en-US" altLang="ko-KR" sz="12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xpath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 접근 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6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 확인 버튼 클릭</a:t>
            </a:r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7)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클립영상 다운로드 완료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저장 경로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: ＇/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sers/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hyunggeunahn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/Downloads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/＇+ filename  )</a:t>
            </a:r>
          </a:p>
          <a:p>
            <a:pPr marL="171450" lvl="0" indent="-171450">
              <a:buFontTx/>
              <a:buChar char="-"/>
            </a:pP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이 후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파일을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request 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요청한 </a:t>
            </a:r>
            <a:r>
              <a:rPr lang="en-US" altLang="ko-KR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Android</a:t>
            </a:r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 서버 단에서 전송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endParaRPr lang="en-US" altLang="ko-KR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6727" y="4518954"/>
            <a:ext cx="5103587" cy="16365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모서리가 둥근 직사각형 9"/>
          <p:cNvSpPr/>
          <p:nvPr/>
        </p:nvSpPr>
        <p:spPr>
          <a:xfrm>
            <a:off x="5230544" y="5840623"/>
            <a:ext cx="414056" cy="209994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1185627" y="5840623"/>
            <a:ext cx="1296144" cy="209994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5121" y="4060784"/>
            <a:ext cx="1999383" cy="8654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오른쪽 화살표 11"/>
          <p:cNvSpPr/>
          <p:nvPr/>
        </p:nvSpPr>
        <p:spPr>
          <a:xfrm>
            <a:off x="6148038" y="4634145"/>
            <a:ext cx="540060" cy="216024"/>
          </a:xfrm>
          <a:prstGeom prst="rightArrow">
            <a:avLst/>
          </a:prstGeom>
          <a:solidFill>
            <a:srgbClr val="FF7A00"/>
          </a:solidFill>
          <a:ln w="3175" cap="flat" cmpd="sng" algn="ctr">
            <a:solidFill>
              <a:srgbClr val="EA002C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10713" y="5548834"/>
            <a:ext cx="2562225" cy="5334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5" name="모서리가 둥근 직사각형 14"/>
          <p:cNvSpPr/>
          <p:nvPr/>
        </p:nvSpPr>
        <p:spPr>
          <a:xfrm>
            <a:off x="7209404" y="4640175"/>
            <a:ext cx="872929" cy="209994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6936832" y="5720638"/>
            <a:ext cx="2117609" cy="361596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4" name="아래쪽 화살표 13"/>
          <p:cNvSpPr/>
          <p:nvPr/>
        </p:nvSpPr>
        <p:spPr>
          <a:xfrm>
            <a:off x="7888788" y="5121188"/>
            <a:ext cx="432048" cy="216024"/>
          </a:xfrm>
          <a:prstGeom prst="downArrow">
            <a:avLst/>
          </a:prstGeom>
          <a:solidFill>
            <a:srgbClr val="FF7A00"/>
          </a:solidFill>
          <a:ln w="3175" cap="flat" cmpd="sng" algn="ctr">
            <a:solidFill>
              <a:srgbClr val="EA002C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 smtClean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782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0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9BC18D0F-B93B-7D4B-97F8-8B42368D0F90}"/>
              </a:ext>
            </a:extLst>
          </p:cNvPr>
          <p:cNvSpPr/>
          <p:nvPr/>
        </p:nvSpPr>
        <p:spPr>
          <a:xfrm>
            <a:off x="521012" y="1612348"/>
            <a:ext cx="4137042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0. 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왜 이렇게 서버 구성을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…?</a:t>
            </a:r>
          </a:p>
          <a:p>
            <a:pPr lvl="0"/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로 하는 영상을 다운받기 위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API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 없는 상황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해당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RL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의 버튼 클릭으로만 분 단위의 영상 다운로드가 가능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1" indent="0"/>
            <a:r>
              <a:rPr lang="en-US" altLang="ko-KR" sz="10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en-US" altLang="ko-KR" sz="10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8"/>
              </a:rPr>
              <a:t>https://cloudcam.skbroadband.com/do/front/dashboard/cameraInfo?camId=117252</a:t>
            </a:r>
            <a:r>
              <a:rPr lang="en-US" altLang="ko-KR" sz="10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)</a:t>
            </a: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버튼 클릭을 통한 다운로드 받는 방법으로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을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사용하였으므로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크롬 드라이버가 서버에서 구동이 가능해야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으로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다운받은 영상을 사용자에게 보내야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위의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4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지 조건을 만족하고 간단하게 통신하기 위해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지 시도를 하였지만 모두 실패하였습니다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y 1. TCP/IP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통신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y 2.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FIREBASE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이용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indent="-171450">
              <a:buFontTx/>
              <a:buChar char="-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Try 3. Amazon Web Service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이용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그 후</a:t>
            </a: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다른 </a:t>
            </a: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지 방법을 오른쪽의 그림과 같이 서버를 구현해 통신하였습니다</a:t>
            </a: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endParaRPr lang="en-US" altLang="ko-KR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.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Flask Web App</a:t>
            </a:r>
          </a:p>
          <a:p>
            <a:pPr marL="171450" lvl="0" indent="-171450">
              <a:buFontTx/>
              <a:buChar char="-"/>
            </a:pP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en-US" altLang="ko-KR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ngok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통한 로컬 서버 터널 열기</a:t>
            </a:r>
            <a:endParaRPr lang="en-US" altLang="ko-KR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. Network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Attached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Storage</a:t>
            </a:r>
            <a:r>
              <a:rPr lang="ko-KR" altLang="en-US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를</a:t>
            </a:r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이용해 영상 파일 전송</a:t>
            </a:r>
            <a:endParaRPr lang="en-US" altLang="ko-KR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graphicFrame>
        <p:nvGraphicFramePr>
          <p:cNvPr id="15" name="다이어그램 14">
            <a:extLst>
              <a:ext uri="{FF2B5EF4-FFF2-40B4-BE49-F238E27FC236}">
                <a16:creationId xmlns:a16="http://schemas.microsoft.com/office/drawing/2014/main" xmlns="" id="{BA655165-A286-E04B-9A0A-D1C43C2158D6}"/>
              </a:ext>
            </a:extLst>
          </p:cNvPr>
          <p:cNvGraphicFramePr/>
          <p:nvPr>
            <p:extLst/>
          </p:nvPr>
        </p:nvGraphicFramePr>
        <p:xfrm>
          <a:off x="4658054" y="1929562"/>
          <a:ext cx="5601959" cy="3734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위쪽 화살표[U] 15">
            <a:extLst>
              <a:ext uri="{FF2B5EF4-FFF2-40B4-BE49-F238E27FC236}">
                <a16:creationId xmlns:a16="http://schemas.microsoft.com/office/drawing/2014/main" xmlns="" id="{3165A51B-090C-AF48-86E9-EAED9013A4DC}"/>
              </a:ext>
            </a:extLst>
          </p:cNvPr>
          <p:cNvSpPr/>
          <p:nvPr/>
        </p:nvSpPr>
        <p:spPr>
          <a:xfrm rot="18900000">
            <a:off x="8070305" y="278082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위쪽 화살표[U] 16">
            <a:extLst>
              <a:ext uri="{FF2B5EF4-FFF2-40B4-BE49-F238E27FC236}">
                <a16:creationId xmlns:a16="http://schemas.microsoft.com/office/drawing/2014/main" xmlns="" id="{BCB8504B-0571-E34B-9C99-F118BA31BEC3}"/>
              </a:ext>
            </a:extLst>
          </p:cNvPr>
          <p:cNvSpPr/>
          <p:nvPr/>
        </p:nvSpPr>
        <p:spPr>
          <a:xfrm rot="8100000">
            <a:off x="8449365" y="2754757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위쪽 화살표[U] 17">
            <a:extLst>
              <a:ext uri="{FF2B5EF4-FFF2-40B4-BE49-F238E27FC236}">
                <a16:creationId xmlns:a16="http://schemas.microsoft.com/office/drawing/2014/main" xmlns="" id="{A907B00F-4661-3145-B3C8-9EC2A2F0E877}"/>
              </a:ext>
            </a:extLst>
          </p:cNvPr>
          <p:cNvSpPr/>
          <p:nvPr/>
        </p:nvSpPr>
        <p:spPr>
          <a:xfrm rot="18900000">
            <a:off x="6259882" y="429822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위쪽 화살표[U] 18">
            <a:extLst>
              <a:ext uri="{FF2B5EF4-FFF2-40B4-BE49-F238E27FC236}">
                <a16:creationId xmlns:a16="http://schemas.microsoft.com/office/drawing/2014/main" xmlns="" id="{C062AD7C-4445-1E40-899C-47EDA71CBE80}"/>
              </a:ext>
            </a:extLst>
          </p:cNvPr>
          <p:cNvSpPr/>
          <p:nvPr/>
        </p:nvSpPr>
        <p:spPr>
          <a:xfrm rot="8100000">
            <a:off x="6638942" y="4272150"/>
            <a:ext cx="260097" cy="525102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위쪽 화살표[U] 19">
            <a:extLst>
              <a:ext uri="{FF2B5EF4-FFF2-40B4-BE49-F238E27FC236}">
                <a16:creationId xmlns:a16="http://schemas.microsoft.com/office/drawing/2014/main" xmlns="" id="{274268FC-E157-A447-8CDF-D27ED5954343}"/>
              </a:ext>
            </a:extLst>
          </p:cNvPr>
          <p:cNvSpPr/>
          <p:nvPr/>
        </p:nvSpPr>
        <p:spPr>
          <a:xfrm rot="16200000">
            <a:off x="7194515" y="3664235"/>
            <a:ext cx="260097" cy="638179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위쪽 화살표[U] 20">
            <a:extLst>
              <a:ext uri="{FF2B5EF4-FFF2-40B4-BE49-F238E27FC236}">
                <a16:creationId xmlns:a16="http://schemas.microsoft.com/office/drawing/2014/main" xmlns="" id="{B9F39209-E255-6847-B0A9-F1C62237F29A}"/>
              </a:ext>
            </a:extLst>
          </p:cNvPr>
          <p:cNvSpPr/>
          <p:nvPr/>
        </p:nvSpPr>
        <p:spPr>
          <a:xfrm rot="5400000">
            <a:off x="7391703" y="3413636"/>
            <a:ext cx="260097" cy="638178"/>
          </a:xfrm>
          <a:prstGeom prst="upArrow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i="0" u="none" strike="noStrike" kern="0" cap="none" spc="-60" normalizeH="0" baseline="0" noProof="0" dirty="0">
              <a:ln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684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xmlns="" id="{689DEDDC-2A16-5A46-9B96-F239FE75B6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2643" y="2177861"/>
            <a:ext cx="3903286" cy="4442556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xmlns="" id="{3E95E61E-295F-5540-9922-DCC0F0E628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18555" y="2132856"/>
            <a:ext cx="4743999" cy="4598349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249664EE-8AAD-1E49-A8CD-FB168B40CC9A}"/>
              </a:ext>
            </a:extLst>
          </p:cNvPr>
          <p:cNvSpPr/>
          <p:nvPr/>
        </p:nvSpPr>
        <p:spPr>
          <a:xfrm>
            <a:off x="521012" y="1612348"/>
            <a:ext cx="3571631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Try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1. TCP/IP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통신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유 및 장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파이썬과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안드로이드 앱 간의 소켓 통신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 및 클라이언트 측 통신을 우측의 코드로 구현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안드로이드 앱과 소켓 통신 성공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단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통신의 단위가 소켓이라 굉장히 작음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평균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9MB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인 영상 파일이 해당 통신 방법으로 송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수신 하기에는 너무나 큼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송수신 중 패킷 손실이 너무나 잦음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동일 네트워크 상에서만 통신이 가능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072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xmlns="" id="{E7288BF6-645D-DA4B-BB07-B42BD13666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8555" y="2132856"/>
            <a:ext cx="4738259" cy="4592786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D0F10116-94DB-414F-B0BA-11ED93341065}"/>
              </a:ext>
            </a:extLst>
          </p:cNvPr>
          <p:cNvSpPr/>
          <p:nvPr/>
        </p:nvSpPr>
        <p:spPr>
          <a:xfrm>
            <a:off x="521012" y="1612348"/>
            <a:ext cx="4397314" cy="315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Try 2. Firebase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서버 및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DB 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용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유 및 장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 및 데이터베이스까지 제공하는 구글의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백엔드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플랫폼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안드로이드 와 해당 환경의 통신이 용이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웹 앱과 해당 환경의 통신이 용이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단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특정 로컬 파일과 동기화 기능이 부재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해당 기능을 위한 서비스는 유료 결제가 필요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사용 량에 따라 건당 추가 서버 사용 금액을 지불해야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44485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xmlns="" id="{352717EA-8D86-DE45-9942-E63CFDC116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21098" y="2600908"/>
            <a:ext cx="4683366" cy="3780842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01D67958-4962-2746-884B-90F91389B9E9}"/>
              </a:ext>
            </a:extLst>
          </p:cNvPr>
          <p:cNvSpPr/>
          <p:nvPr/>
        </p:nvSpPr>
        <p:spPr>
          <a:xfrm>
            <a:off x="521012" y="1612348"/>
            <a:ext cx="3960922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Try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. Amazon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Web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ervice</a:t>
            </a: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유 및 장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EC2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위에 구축한 서버에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DB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등 기초적인 것을 구축 및 다운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해당 리눅스 서버에 웹 앱 등을 옮김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에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리퀘스트가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들어오면 웹 앱을 통해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DB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 파일을 저장한 후 양방향 통신으로 배포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단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GUI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 제공되는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도구인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hrome driver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 실행 불가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크롤링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도구로 사용되는 다른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binary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파일 인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phantom 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js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및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hrome driver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구버전은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보안상의 문제로 해당 서버에서 실행이 불가능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36075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xmlns="" id="{5501312D-8FAD-F24F-AEB4-5BE5AA89E8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50186" y="1628800"/>
            <a:ext cx="3274729" cy="504654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xmlns="" id="{91063F36-882B-0B45-8F90-ADCF8E376F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88883" y="3501008"/>
            <a:ext cx="5331220" cy="3312368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9BC18D0F-B93B-7D4B-97F8-8B42368D0F90}"/>
              </a:ext>
            </a:extLst>
          </p:cNvPr>
          <p:cNvSpPr/>
          <p:nvPr/>
        </p:nvSpPr>
        <p:spPr>
          <a:xfrm>
            <a:off x="521012" y="1612348"/>
            <a:ext cx="4505325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1. </a:t>
            </a:r>
            <a:r>
              <a:rPr lang="ko-KR" altLang="en-US" sz="20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미니멀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한 웹 앱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-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Flask</a:t>
            </a:r>
          </a:p>
          <a:p>
            <a:pPr lvl="0"/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 이유 및 장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백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엔드에서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실행되는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오직 기능을 위한 웹 앱 구현이 필요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한 기능만 간단하게 구현이 가능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Flask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를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사용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Virtual Environment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를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구축하여 해당 환경에서 웹 앱을 실행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지정한 특정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RL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 접속 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request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 들어와 해당 함수가 작동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독립된 가상환경이라 원하는 환경 설정이 가능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단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사용자가 많아지면 통신이 굉장히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딜레이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초기 설정에 많은 노력과 시간이 필요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06403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1" y="80628"/>
            <a:ext cx="102600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b="1" dirty="0" smtClean="0">
                <a:latin typeface="+mn-ea"/>
                <a:ea typeface="+mn-ea"/>
              </a:rPr>
              <a:t>동의서 작성 </a:t>
            </a:r>
            <a:r>
              <a:rPr lang="en-US" altLang="ko-KR" sz="2400" b="1" dirty="0" smtClean="0">
                <a:latin typeface="+mn-ea"/>
                <a:ea typeface="+mn-ea"/>
              </a:rPr>
              <a:t>2/3</a:t>
            </a:r>
            <a:endParaRPr lang="ko-KR" altLang="en-US" sz="2400" b="1" dirty="0">
              <a:latin typeface="+mn-ea"/>
              <a:ea typeface="+mn-e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2E0BF43-C5C0-4E11-9919-4657C141C1EC}"/>
              </a:ext>
            </a:extLst>
          </p:cNvPr>
          <p:cNvSpPr txBox="1"/>
          <p:nvPr/>
        </p:nvSpPr>
        <p:spPr>
          <a:xfrm>
            <a:off x="449486" y="836712"/>
            <a:ext cx="9422772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은 지속적으로 새로운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BM(Business Model)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과 관련한 아이디어를 개발하고 있으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따라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도 “제안자”가 ‘제안’을 제출하는 것과 관계 없이 독자적으로 그 ‘제안’과 동일 또는 유사한 아이디어나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새로운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BM(Business Model)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을 과거 혹은 현재 개발하였거나 향후에 개발할 수 있음을 유의하시기 바랍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1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특허법이나 저작권법 등 관련 법령에 의하여 보호되지 않는 한 “제안자”가 아이디어를 ‘제안’한 사실만으로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가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향후에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그와 동일 또는 유사한 아이디어를 이용하여 사업을 수행할 수 있는 권리를 제한 받지 아니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또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‘제안’한 아이디어가 신규성 또는 진보성이 없거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구체적이지 않으면 법적 권리로서 보호되지 않습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2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가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독자적으로 혹은 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자의 ‘제안’을 받아 직접 또는 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자를 통하여 이미 이를 개발하였거나 현재 개발 중에 있는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경우에는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의 아이디어는 채택되거나 보상되지 않습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 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라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‘제안’한 아이디어에 대하여 적정하다고 판단되는 기준과 절차에 따라 공정하게 심사할 것입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1) 1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차 심사 결과는 개별통지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유선 또는 이메일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및 공지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클라우드캠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API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포털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홈페이지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예정입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2) “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2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차 심사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(PT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발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결과에 따라 채택된 우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‘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 및 결과물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에 대하여 소정의 상금을 지급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마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채택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채택 예정인 경우도 포함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된 ‘제안’의 “제안자”에게 이를 공동 개발 또는 공동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사업화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제휴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할 것을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제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하 ‘제의’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하고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가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정한 공동 개발ㆍ사업화의 유형을 기준으로 협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하 ‘협의’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를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요청할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수 있습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1)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이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경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“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와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자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는 신의성실의 원칙에 입각하여 합리적이고 효과적인 협력 조건을 상호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‘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협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하여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해당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”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실행의 성공을 확보할 수 있도록 최선의 노력을 다하여야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2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상기한 ‘제의’나 그에 기한 ‘협의’를 한 사실만으로 “제안자”의 ‘제안’이 채택된 것이거나 “제안자”가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와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의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공동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개발 혹은 사업화 할 권리를 확보한 것이라고 해석되지는 아니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신의성실의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원칙에 반하거나 공동 개발ㆍ사업화의 기본 전략이나 이해를 달리하거나 기타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의 사업 계획 변경 등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정당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사유가 있는 경우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언제든지 ‘협의’를 중단하고 ‘제의’를 철회할 수 있습니다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다음 페이지 계속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 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01048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xmlns="" id="{E79E9DDF-5C77-3349-8E88-0FF20F7862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48974" y="3068960"/>
            <a:ext cx="5611038" cy="3924436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C4EE78CC-7783-1548-93A9-4F28245A34F0}"/>
              </a:ext>
            </a:extLst>
          </p:cNvPr>
          <p:cNvSpPr/>
          <p:nvPr/>
        </p:nvSpPr>
        <p:spPr>
          <a:xfrm>
            <a:off x="521012" y="1612348"/>
            <a:ext cx="4536986" cy="389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Local Server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터널 열기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–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20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ngok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유 및 장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로컬에서만 접속이 가능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27.0.0.1:5000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터널을 모두에게 열어 줌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해당 기능을 하는 </a:t>
            </a:r>
            <a:r>
              <a:rPr lang="en-US" altLang="ko-KR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ngok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모듈로 특정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RL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통해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포워딩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해준다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Connections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을 통해 해당 서버가 현제 어떤 상태인지 알 수 있다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하단에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HTTP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Request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및 어떻게 처리되었는지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Debug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창을 띄운다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단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해당 세션에 대하여 회당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6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시간 정도 지속된다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시간이 지난 뒤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다시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포워딩을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해주게 되면 지정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URL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이 바뀐다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어떠한 유저라도 자신의 포트에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리퀘스트를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보낼 수 있어 사용자가 많다면 컴퓨터 자원이 낭비된다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171450" lvl="0" indent="-171450">
              <a:buFontTx/>
              <a:buChar char="-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 </a:t>
            </a:r>
            <a:endParaRPr lang="en-US" altLang="ko-KR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13241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-2)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C4EE78CC-7783-1548-93A9-4F28245A34F0}"/>
              </a:ext>
            </a:extLst>
          </p:cNvPr>
          <p:cNvSpPr/>
          <p:nvPr/>
        </p:nvSpPr>
        <p:spPr>
          <a:xfrm>
            <a:off x="521012" y="1612348"/>
            <a:ext cx="4600513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. 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휴대폰 </a:t>
            </a:r>
            <a:r>
              <a:rPr lang="en-US" altLang="ko-KR" sz="20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stroage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 웹으로 접근하기 </a:t>
            </a:r>
            <a:r>
              <a:rPr lang="en-US" altLang="ko-KR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by NAS</a:t>
            </a:r>
          </a:p>
          <a:p>
            <a:endParaRPr lang="en-US" altLang="ko-KR" sz="12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r>
              <a:rPr lang="ko-KR" altLang="en-US" sz="1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필요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이유 및 장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웹을 통해 해당 휴대폰의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스토리지에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접근이 가능해야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다운로드 한 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9mb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가량의 파일을 빠르게 전송이 가능해야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FTP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서버를 통해 휴대폰 </a:t>
            </a:r>
            <a:r>
              <a:rPr lang="ko-KR" altLang="en-US" sz="1200" spc="-100" dirty="0" err="1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스토리지에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파일을 송신</a:t>
            </a: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수신을 진행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단점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같은 네트워크 상에 존재해야 함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인증 및 보안 절차가 까다로움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marL="228600" lvl="0" indent="-228600">
              <a:buAutoNum type="arabicParenR"/>
            </a:pPr>
            <a:r>
              <a:rPr lang="en-US" altLang="ko-KR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FTP </a:t>
            </a:r>
            <a:r>
              <a:rPr lang="ko-KR" altLang="en-US" sz="12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서버 설정 및 구축 난이도가 높은 편임</a:t>
            </a:r>
            <a:endParaRPr lang="en-US" altLang="ko-KR" sz="12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pic>
        <p:nvPicPr>
          <p:cNvPr id="223273" name="Picture 41" descr="https://t1.daumcdn.net/cfile/tistory/27594E4557DA7E650C">
            <a:extLst>
              <a:ext uri="{FF2B5EF4-FFF2-40B4-BE49-F238E27FC236}">
                <a16:creationId xmlns:a16="http://schemas.microsoft.com/office/drawing/2014/main" xmlns="" id="{FCDBED7D-8EB2-944E-AC2B-D505B6AA1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891" y="1500280"/>
            <a:ext cx="3660690" cy="2061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275" name="Picture 43" descr="▲ 리스트에서 원하는 파일을 선택하기만 하면...">
            <a:hlinkClick r:id="rId9"/>
            <a:extLst>
              <a:ext uri="{FF2B5EF4-FFF2-40B4-BE49-F238E27FC236}">
                <a16:creationId xmlns:a16="http://schemas.microsoft.com/office/drawing/2014/main" xmlns="" id="{40D5F337-4F94-784B-9FD8-0AE6A21D3D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118" y="3561933"/>
            <a:ext cx="3657888" cy="243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4297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12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sample </a:t>
            </a:r>
            <a:r>
              <a:rPr lang="ko-KR" altLang="en-US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코드를 참고 했습니다</a:t>
            </a:r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6894202" y="1592796"/>
            <a:ext cx="2597136" cy="4617132"/>
          </a:xfrm>
          <a:prstGeom prst="rect">
            <a:avLst/>
          </a:prstGeom>
        </p:spPr>
      </p:pic>
      <p:sp>
        <p:nvSpPr>
          <p:cNvPr id="63" name="직사각형 8"/>
          <p:cNvSpPr/>
          <p:nvPr/>
        </p:nvSpPr>
        <p:spPr>
          <a:xfrm>
            <a:off x="593502" y="1966801"/>
            <a:ext cx="5275362" cy="3641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1.</a:t>
            </a:r>
            <a:r>
              <a:rPr lang="ko-KR" altLang="en-US" sz="23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 초기 로딩화면</a:t>
            </a:r>
          </a:p>
          <a:p>
            <a:pPr lvl="0">
              <a:defRPr/>
            </a:pPr>
            <a:endParaRPr lang="en-US" altLang="ko-KR" sz="23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en-US" altLang="ko-KR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skiApi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를 사용하기 위해서는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초기에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IMEI(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휴대폰 교유 번호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)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가 필요합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이 화면에서 자동으로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IMEI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를 받아오게 됩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2) </a:t>
            </a:r>
            <a:r>
              <a:rPr lang="ko-KR" altLang="en-US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안드로이드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버전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APK 23(</a:t>
            </a:r>
            <a:r>
              <a:rPr lang="en-US" altLang="ko-KR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TargetSDK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= </a:t>
            </a:r>
            <a:r>
              <a:rPr lang="ko-KR" altLang="en-US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마시멜로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버전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)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이상인 경우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디바이스의 특정 기능을 사용할 때  무조건 권한을 요구하도록 했습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로딩 화면에서 위험 권한을 다 풀어주는 역할을 하게 됩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이 때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위험권한을 다 풀어주어야만 모든 기능을 문제 없이 사용할 수 있습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)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로딩화면은 별다른 인풋이 없어도 바로 로그인 화면으로 넘어가게 됩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IMEI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의 </a:t>
            </a:r>
            <a:r>
              <a:rPr lang="ko-KR" altLang="en-US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인자값만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로딩화면으로 넘겨줍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</a:t>
            </a:r>
            <a:endParaRPr lang="en-US" altLang="ko-KR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7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13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sample </a:t>
            </a:r>
            <a:r>
              <a:rPr lang="ko-KR" altLang="en-US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코드를 참고 했습니다</a:t>
            </a:r>
          </a:p>
        </p:txBody>
      </p:sp>
      <p:pic>
        <p:nvPicPr>
          <p:cNvPr id="64" name="그림 63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7038181" y="1278983"/>
            <a:ext cx="2592324" cy="46085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8" name="직사각형 8"/>
          <p:cNvSpPr/>
          <p:nvPr/>
        </p:nvSpPr>
        <p:spPr>
          <a:xfrm>
            <a:off x="593502" y="1966799"/>
            <a:ext cx="5275362" cy="3250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2.</a:t>
            </a:r>
            <a:r>
              <a:rPr lang="ko-KR" altLang="en-US" sz="23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 로그인 화면</a:t>
            </a:r>
          </a:p>
          <a:p>
            <a:pPr lvl="0">
              <a:defRPr/>
            </a:pPr>
            <a:endParaRPr lang="en-US" altLang="ko-KR" sz="23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1)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입력받은 아이디와 비밀 번호를 가지고 클라우드캠 접근 권한이 있는 지 없는 지를 확인하게 됩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2) 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ApplicationClass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라는 곳에서 모든 변수들과 메서드를 관리하고 있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json 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파일로 정보들이 들어오면 합당한 변수에 값을 집어 넣어서 언제든 쓸 수 있도록 만들어 줍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)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로그인 화면에서 사용자 인증이 완료되면 카메라 리스트와 카메라를 보여주는 곳으로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intent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하게 됩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별다른 변수를 넘겨 주지 않아도 되고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넘겨줄 때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flag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만 깨끗하게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clear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시켜주면 됩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r>
              <a:rPr lang="ko-KR" altLang="en-US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</a:t>
            </a:r>
            <a:endParaRPr lang="en-US" altLang="ko-KR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1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sample </a:t>
            </a:r>
            <a:r>
              <a:rPr lang="ko-KR" altLang="en-US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코드를 참고 했습니다</a:t>
            </a:r>
          </a:p>
        </p:txBody>
      </p:sp>
      <p:sp>
        <p:nvSpPr>
          <p:cNvPr id="68" name="직사각형 8"/>
          <p:cNvSpPr/>
          <p:nvPr/>
        </p:nvSpPr>
        <p:spPr>
          <a:xfrm>
            <a:off x="593502" y="1966798"/>
            <a:ext cx="5275362" cy="4165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3.</a:t>
            </a:r>
            <a:r>
              <a:rPr lang="ko-KR" altLang="en-US" sz="23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 카메라 리스트 화면</a:t>
            </a:r>
          </a:p>
          <a:p>
            <a:pPr lvl="0">
              <a:defRPr/>
            </a:pPr>
            <a:endParaRPr lang="en-US" altLang="ko-KR" sz="23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1)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카메라 리스트가 위쪽에 리사이클링 뷰로 나타나져 있고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그 아래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SurfaceView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로 나타나 있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큰 화면에서 실시간 영상을 확인할 수 있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그 아래에는 넣고 싶은 문구를 넣는 곳이 있고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그 아래에는 문구와 함께 저장할 수 있는 아이콘과 그 외의 네비게이션 탭이 있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2) 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통신할 때에는 핸들러를 사용해야 하기 때문에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Message 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를 사용해서 정보를 주고 받게 됩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CameraDetailLsitData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의 객체를 통해서 정보를 주고 받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)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어떤 특정한 사업에 쓰이는 기능이 아니라 클립을 만들어내는 기능이 있기 때문에 어플리케이션의 형태도 여러가지로 바뀔 수 있다는 생각이 들었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클립의 길이는 지금은 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1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분으로 한정했고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차후에 클립의 길이를 정하는 부분을 넣을 계획입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r>
              <a:rPr lang="ko-KR" altLang="en-US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</a:t>
            </a:r>
            <a:endParaRPr lang="en-US" altLang="ko-KR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  <p:pic>
        <p:nvPicPr>
          <p:cNvPr id="69" name="그림 68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7074186" y="1288009"/>
            <a:ext cx="2592324" cy="46085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15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sample </a:t>
            </a:r>
            <a:r>
              <a:rPr lang="ko-KR" altLang="en-US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코드를 참고 했습니다</a:t>
            </a:r>
          </a:p>
        </p:txBody>
      </p:sp>
      <p:sp>
        <p:nvSpPr>
          <p:cNvPr id="68" name="직사각형 8"/>
          <p:cNvSpPr/>
          <p:nvPr/>
        </p:nvSpPr>
        <p:spPr>
          <a:xfrm>
            <a:off x="593502" y="1966798"/>
            <a:ext cx="5275362" cy="3308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4.</a:t>
            </a:r>
            <a:r>
              <a:rPr lang="ko-KR" altLang="en-US" sz="23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 클립 다운로드 기능</a:t>
            </a:r>
          </a:p>
          <a:p>
            <a:pPr marL="0" lvl="0" indent="0">
              <a:buNone/>
              <a:defRPr/>
            </a:pPr>
            <a:endParaRPr lang="ko-KR" altLang="en-US" sz="2300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1)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단순히 동영상을 받는 것이 아니라 짧은 길이의 영상을 다운로드를 받음과 동시에 단순한 글자를 집어넣는 역할을 하게 됩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ko-KR" altLang="en-US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안드로이드에서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모든 것을 구현하지는 못했지만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flask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와 </a:t>
            </a:r>
            <a:r>
              <a:rPr lang="en-US" altLang="ko-KR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nas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를 통해서 통신하는 것 까지 구현된 상태입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2) 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다운로드 아이콘을 누르고 나면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web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상에서 다운로드가 받아지면 자동으로 다운 받아진 영상이 핸드폰으로 전달이 됩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(download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폴더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)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에 다운로드가 되어 있습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5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)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차후에 </a:t>
            </a:r>
            <a:r>
              <a:rPr lang="ko-KR" altLang="en-US" sz="15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안드로이드에서</a:t>
            </a:r>
            <a:r>
              <a:rPr lang="ko-KR" altLang="en-US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간단한 문구를 넣어서 영상을 만들 계획입니다</a:t>
            </a:r>
            <a:r>
              <a:rPr lang="en-US" altLang="ko-KR" sz="15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 </a:t>
            </a:r>
          </a:p>
        </p:txBody>
      </p:sp>
      <p:pic>
        <p:nvPicPr>
          <p:cNvPr id="70" name="그림 69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6858198" y="1124712"/>
            <a:ext cx="2592324" cy="46085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9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Firebase</a:t>
            </a:r>
            <a:r>
              <a:rPr lang="ko-KR" altLang="en-US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와 실시간 통신</a:t>
            </a:r>
          </a:p>
        </p:txBody>
      </p:sp>
      <p:pic>
        <p:nvPicPr>
          <p:cNvPr id="69" name="그림 68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4841974" y="3716473"/>
            <a:ext cx="5142283" cy="2758620"/>
          </a:xfrm>
          <a:prstGeom prst="rect">
            <a:avLst/>
          </a:prstGeom>
        </p:spPr>
      </p:pic>
      <p:sp>
        <p:nvSpPr>
          <p:cNvPr id="71" name="직사각형 13"/>
          <p:cNvSpPr/>
          <p:nvPr/>
        </p:nvSpPr>
        <p:spPr>
          <a:xfrm>
            <a:off x="624681" y="1773823"/>
            <a:ext cx="4505325" cy="470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5. </a:t>
            </a:r>
            <a:r>
              <a:rPr lang="ko-KR" altLang="en-US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번 외 </a:t>
            </a:r>
            <a:r>
              <a:rPr lang="en-US" altLang="ko-KR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(Firebase Real-Time)</a:t>
            </a:r>
            <a:endParaRPr lang="ko-KR" altLang="en-US" sz="20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파이선 서버로 영상을 다운 받는 것까지는 성공을 했지만 다운 받은 후에 이 영상을 핸드폰으로 연결하기까지 정말 여러 과정이 있었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 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구글 드라이브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 firebase, jaramiko library, socket communication </a:t>
            </a:r>
            <a:r>
              <a:rPr lang="ko-KR" altLang="en-US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등 여러 방법 등을 시도해보았습니다</a:t>
            </a:r>
            <a:r>
              <a:rPr lang="en-US" altLang="ko-KR" sz="15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endParaRPr lang="en-US" altLang="ko-KR" sz="20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FF7A00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필요 이유 및 장점</a:t>
            </a: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안드로이드에서 접근이 용이하고 다루기 쉬움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필요한 영상을 다운로드 받거나 인자 넘겨주기 간단함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인터넷과 연결되어 있는 곳이면 어디든 접속 가능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간단한 동영성 업로드의 용이함</a:t>
            </a:r>
          </a:p>
          <a:p>
            <a:pPr marL="0" lvl="0" indent="0">
              <a:buNone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단점</a:t>
            </a: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파이썬서버와 통신을 하기 굉장히 까다로움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초기 설정에 많은 노력과 시간이 필요함</a:t>
            </a:r>
          </a:p>
          <a:p>
            <a:pPr marL="228600" lvl="0" indent="-228600">
              <a:buAutoNum type="arabicParenR"/>
              <a:defRPr/>
            </a:pP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19747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3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</a:t>
            </a:r>
            <a:r>
              <a:rPr lang="ko-KR" altLang="en-US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파이썬 서버와의 소켓 통신 시도</a:t>
            </a:r>
          </a:p>
        </p:txBody>
      </p:sp>
      <p:pic>
        <p:nvPicPr>
          <p:cNvPr id="69" name="그림 68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3797858" y="1535162"/>
            <a:ext cx="4416144" cy="4738154"/>
          </a:xfrm>
          <a:prstGeom prst="rect">
            <a:avLst/>
          </a:prstGeom>
        </p:spPr>
      </p:pic>
      <p:pic>
        <p:nvPicPr>
          <p:cNvPr id="70" name="그림 69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5621714" y="1521913"/>
            <a:ext cx="4428491" cy="4751402"/>
          </a:xfrm>
          <a:prstGeom prst="rect">
            <a:avLst/>
          </a:prstGeom>
        </p:spPr>
      </p:pic>
      <p:sp>
        <p:nvSpPr>
          <p:cNvPr id="72" name="직사각형 13"/>
          <p:cNvSpPr/>
          <p:nvPr/>
        </p:nvSpPr>
        <p:spPr>
          <a:xfrm>
            <a:off x="300647" y="2060848"/>
            <a:ext cx="4505323" cy="32345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5. </a:t>
            </a:r>
            <a:r>
              <a:rPr lang="ko-KR" altLang="en-US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번 외 </a:t>
            </a:r>
            <a:r>
              <a:rPr lang="en-US" altLang="ko-KR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(Socket Communication)</a:t>
            </a:r>
          </a:p>
          <a:p>
            <a:pPr lvl="0">
              <a:defRPr/>
            </a:pPr>
            <a:endParaRPr lang="ko-KR" altLang="en-US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필요 이유 및 장점</a:t>
            </a: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파이썬서버와 자바 클라이언트가 통신의 용이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양방향 통신 하기에 적합한 통신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간단한 이미지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문자는 전송가능</a:t>
            </a:r>
          </a:p>
          <a:p>
            <a:pPr marL="0" lvl="0" indent="0">
              <a:buNone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단점</a:t>
            </a: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용량이 큰 동영상을 보내기에는 부적합 함</a:t>
            </a:r>
          </a:p>
          <a:p>
            <a:pPr marL="228600" lvl="0" indent="-228600">
              <a:buAutoNum type="arabicParenR"/>
              <a:defRPr/>
            </a:pP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안드로이드에서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while()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문을 돌리면 램 부담이 큼</a:t>
            </a:r>
          </a:p>
          <a:p>
            <a:pPr marL="228600" lvl="0" indent="-228600">
              <a:buAutoNum type="arabicParenR"/>
              <a:defRPr/>
            </a:pP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42591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47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8" name="직사각형 7"/>
          <p:cNvSpPr/>
          <p:nvPr/>
        </p:nvSpPr>
        <p:spPr>
          <a:xfrm>
            <a:off x="445371" y="872716"/>
            <a:ext cx="7127689" cy="516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3-3) Android App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*jaramiko </a:t>
            </a:r>
            <a:r>
              <a:rPr lang="ko-KR" altLang="en-US" sz="2000" b="1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/>
                <a:ea typeface="뫼비우스 Bold"/>
              </a:rPr>
              <a:t>라이브러리 시도</a:t>
            </a:r>
          </a:p>
        </p:txBody>
      </p:sp>
      <p:pic>
        <p:nvPicPr>
          <p:cNvPr id="69" name="그림 68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5638262" y="1388745"/>
            <a:ext cx="3464418" cy="3717032"/>
          </a:xfrm>
          <a:prstGeom prst="rect">
            <a:avLst/>
          </a:prstGeom>
        </p:spPr>
      </p:pic>
      <p:pic>
        <p:nvPicPr>
          <p:cNvPr id="70" name="그림 69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6673980" y="1388745"/>
            <a:ext cx="3464418" cy="3717032"/>
          </a:xfrm>
          <a:prstGeom prst="rect">
            <a:avLst/>
          </a:prstGeom>
        </p:spPr>
      </p:pic>
      <p:pic>
        <p:nvPicPr>
          <p:cNvPr id="71" name="그림 70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>
            <a:off x="3454252" y="1390464"/>
            <a:ext cx="3799989" cy="4077072"/>
          </a:xfrm>
          <a:prstGeom prst="rect">
            <a:avLst/>
          </a:prstGeom>
        </p:spPr>
      </p:pic>
      <p:pic>
        <p:nvPicPr>
          <p:cNvPr id="72" name="그림 71"/>
          <p:cNvPicPr>
            <a:picLocks noChangeAspect="1"/>
          </p:cNvPicPr>
          <p:nvPr/>
        </p:nvPicPr>
        <p:blipFill rotWithShape="1">
          <a:blip r:embed="rId10"/>
          <a:stretch>
            <a:fillRect/>
          </a:stretch>
        </p:blipFill>
        <p:spPr>
          <a:xfrm>
            <a:off x="3454252" y="2780928"/>
            <a:ext cx="3799989" cy="4077072"/>
          </a:xfrm>
          <a:prstGeom prst="rect">
            <a:avLst/>
          </a:prstGeom>
        </p:spPr>
      </p:pic>
      <p:pic>
        <p:nvPicPr>
          <p:cNvPr id="73" name="그림 72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>
            <a:off x="4606199" y="1390464"/>
            <a:ext cx="3799989" cy="4077072"/>
          </a:xfrm>
          <a:prstGeom prst="rect">
            <a:avLst/>
          </a:prstGeom>
        </p:spPr>
      </p:pic>
      <p:pic>
        <p:nvPicPr>
          <p:cNvPr id="74" name="그림 73"/>
          <p:cNvPicPr>
            <a:picLocks noChangeAspect="1"/>
          </p:cNvPicPr>
          <p:nvPr/>
        </p:nvPicPr>
        <p:blipFill rotWithShape="1">
          <a:blip r:embed="rId12"/>
          <a:stretch>
            <a:fillRect/>
          </a:stretch>
        </p:blipFill>
        <p:spPr>
          <a:xfrm>
            <a:off x="4386155" y="2780927"/>
            <a:ext cx="3799989" cy="4077072"/>
          </a:xfrm>
          <a:prstGeom prst="rect">
            <a:avLst/>
          </a:prstGeom>
        </p:spPr>
      </p:pic>
      <p:pic>
        <p:nvPicPr>
          <p:cNvPr id="75" name="그림 74"/>
          <p:cNvPicPr>
            <a:picLocks noChangeAspect="1"/>
          </p:cNvPicPr>
          <p:nvPr/>
        </p:nvPicPr>
        <p:blipFill rotWithShape="1">
          <a:blip r:embed="rId13"/>
          <a:stretch>
            <a:fillRect/>
          </a:stretch>
        </p:blipFill>
        <p:spPr>
          <a:xfrm>
            <a:off x="5470477" y="2780928"/>
            <a:ext cx="3799989" cy="4077072"/>
          </a:xfrm>
          <a:prstGeom prst="rect">
            <a:avLst/>
          </a:prstGeom>
        </p:spPr>
      </p:pic>
      <p:pic>
        <p:nvPicPr>
          <p:cNvPr id="76" name="그림 75"/>
          <p:cNvPicPr>
            <a:picLocks noChangeAspect="1"/>
          </p:cNvPicPr>
          <p:nvPr/>
        </p:nvPicPr>
        <p:blipFill rotWithShape="1">
          <a:blip r:embed="rId14"/>
          <a:stretch>
            <a:fillRect/>
          </a:stretch>
        </p:blipFill>
        <p:spPr>
          <a:xfrm>
            <a:off x="6286151" y="2780928"/>
            <a:ext cx="3799989" cy="4077072"/>
          </a:xfrm>
          <a:prstGeom prst="rect">
            <a:avLst/>
          </a:prstGeom>
        </p:spPr>
      </p:pic>
      <p:sp>
        <p:nvSpPr>
          <p:cNvPr id="77" name="직사각형 13"/>
          <p:cNvSpPr/>
          <p:nvPr/>
        </p:nvSpPr>
        <p:spPr>
          <a:xfrm>
            <a:off x="161454" y="2022160"/>
            <a:ext cx="3168352" cy="3967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5. </a:t>
            </a:r>
            <a:r>
              <a:rPr lang="ko-KR" altLang="en-US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번 외 </a:t>
            </a:r>
            <a:r>
              <a:rPr lang="en-US" altLang="ko-KR" sz="20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(Jaramiko Library)</a:t>
            </a:r>
          </a:p>
          <a:p>
            <a:pPr lvl="0">
              <a:defRPr/>
            </a:pPr>
            <a:endParaRPr lang="ko-KR" altLang="en-US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15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필요 이유 및 장점</a:t>
            </a: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파이썬 서버와 클라이언트간 통신에 용이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Jaramiko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라는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Paramiko 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JAVA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버전 있음</a:t>
            </a: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영상 전송까지 가능함</a:t>
            </a:r>
          </a:p>
          <a:p>
            <a:pPr marL="0" lvl="0" indent="0">
              <a:buNone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단점</a:t>
            </a: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파이썬과 안드로이드 간의 통신에는 부적절</a:t>
            </a:r>
          </a:p>
          <a:p>
            <a:pPr marL="228600" lvl="0" indent="-228600">
              <a:buAutoNum type="arabicParenR"/>
              <a:defRPr/>
            </a:pP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marL="228600" lvl="0" indent="-228600">
              <a:buAutoNum type="arabicParenR"/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서비스를 종료한 지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8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년이 지나서 에러가 많음</a:t>
            </a:r>
          </a:p>
          <a:p>
            <a:pPr marL="0" lvl="0" indent="0">
              <a:buNone/>
              <a:defRPr/>
            </a:pPr>
            <a:endParaRPr lang="ko-KR" altLang="en-US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그렇기 때문에 안드로이드와 파이썬서버간의 통신 보다는 서버에서 다운로드를 처리할 수 있도록 정의했습니다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200" spc="-10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55902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177006" y="0"/>
            <a:ext cx="9922598" cy="6858000"/>
          </a:xfrm>
          <a:prstGeom prst="rect">
            <a:avLst/>
          </a:prstGeom>
          <a:pattFill prst="lt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pc="-150" dirty="0">
              <a:latin typeface="Century Gothic" panose="020B0502020202020204" pitchFamily="34" charset="0"/>
            </a:endParaRPr>
          </a:p>
        </p:txBody>
      </p:sp>
      <p:pic>
        <p:nvPicPr>
          <p:cNvPr id="12" name="그림 11" descr="사람, 노트북, 실내, 소파이(가) 표시된 사진&#10;&#10;매우 높은 신뢰도로 생성된 설명">
            <a:extLst>
              <a:ext uri="{FF2B5EF4-FFF2-40B4-BE49-F238E27FC236}">
                <a16:creationId xmlns="" xmlns:a16="http://schemas.microsoft.com/office/drawing/2014/main" id="{58F06C41-2FF6-4CB9-9E4A-CC37E89C08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2" b="25483"/>
          <a:stretch/>
        </p:blipFill>
        <p:spPr>
          <a:xfrm>
            <a:off x="223443" y="8619"/>
            <a:ext cx="9915418" cy="4284477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2717738" y="4491394"/>
            <a:ext cx="727280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ko-KR" altLang="en-US" sz="40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향후 서비스 </a:t>
            </a:r>
            <a:r>
              <a:rPr lang="ko-KR" altLang="en-US" sz="40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발전 </a:t>
            </a:r>
            <a:r>
              <a:rPr lang="ko-KR" altLang="en-US" sz="40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방향</a:t>
            </a:r>
            <a:endParaRPr lang="ko-KR" altLang="en-US" sz="40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77006" y="4303643"/>
            <a:ext cx="9922598" cy="141749"/>
          </a:xfrm>
          <a:prstGeom prst="rect">
            <a:avLst/>
          </a:pr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466769" y="4303643"/>
            <a:ext cx="3632835" cy="141749"/>
          </a:xfrm>
          <a:prstGeom prst="rect">
            <a:avLst/>
          </a:prstGeom>
          <a:solidFill>
            <a:srgbClr val="FF7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54402" y="11114"/>
            <a:ext cx="9891640" cy="4303641"/>
          </a:xfrm>
          <a:prstGeom prst="rect">
            <a:avLst/>
          </a:prstGeom>
          <a:solidFill>
            <a:schemeClr val="tx1">
              <a:lumMod val="95000"/>
              <a:lumOff val="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1537" y="319207"/>
            <a:ext cx="1088856" cy="349473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7768459" y="3092862"/>
            <a:ext cx="21268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en-US" altLang="ko-KR" sz="96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04</a:t>
            </a:r>
            <a:endParaRPr lang="ko-KR" altLang="en-US" sz="96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434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1" y="80628"/>
            <a:ext cx="102600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b="1" dirty="0" smtClean="0">
                <a:latin typeface="+mn-ea"/>
                <a:ea typeface="+mn-ea"/>
              </a:rPr>
              <a:t>동의서 작성 </a:t>
            </a:r>
            <a:r>
              <a:rPr lang="en-US" altLang="ko-KR" sz="2400" b="1" dirty="0" smtClean="0">
                <a:latin typeface="+mn-ea"/>
                <a:ea typeface="+mn-ea"/>
              </a:rPr>
              <a:t>3/3</a:t>
            </a:r>
            <a:endParaRPr lang="ko-KR" altLang="en-US" sz="2400" b="1" dirty="0">
              <a:latin typeface="+mn-ea"/>
              <a:ea typeface="+mn-e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2E0BF43-C5C0-4E11-9919-4657C141C1EC}"/>
              </a:ext>
            </a:extLst>
          </p:cNvPr>
          <p:cNvSpPr txBox="1"/>
          <p:nvPr/>
        </p:nvSpPr>
        <p:spPr>
          <a:xfrm>
            <a:off x="449486" y="836712"/>
            <a:ext cx="9770623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바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‘제안’을 위하여 제출한 자료 및 채택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‘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에 대한 지적 재산권 등 제반 권리에 대한 사항은 다음과 같이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   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정하기로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1) “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자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‘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을 응모한 날부터 공모전 결과 발표일 이후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개월 이내에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‘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을 위해 제출한 자료의 반환을 요청할 수 있으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 경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SK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출된 자료를 반환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다만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출된 자료가 물리적 형체를 지니지 아니한 경우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SK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자료를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폐기하는 것으로 자료의 반환에 갈음할 수 있습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2) 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SK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en-US" sz="1200" dirty="0">
                <a:solidFill>
                  <a:prstClr val="black"/>
                </a:solidFill>
                <a:latin typeface="맑은 고딕"/>
                <a:ea typeface="맑은 고딕"/>
              </a:rPr>
              <a:t>는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‘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제안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’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에 관한 자료를 공모전 결과 발표일로부터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개월 이내에 폐기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3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채택된 ‘제안’의 “제안자”는 “제안”에 대해 “제안자”가 보유하고 있는 특허권ㆍ실용신안권ㆍ저작권 등 지적재산권에 대한 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통상실시권을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에게 허여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 경우 통상실시권의 사용대가는 공모전에서 수상한 상금으로 함을 원칙으로 하되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정당한 사유가 있는 때에는 상호 신의성실의 원칙에 입각한 협의에 따라 통상실시권의 사용대가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실시범위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사용기간 등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자세한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내용을 별도로 정하기로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4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채택된 ‘제안’에 대하여 사업화 과정에서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이 독자적으로 새롭게 획득한 지적 재산권의 소유권은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에게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귀속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단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,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제안자”가 사업화 과정에서 지적 재산권 획득에 구체적으로 기여한 경우에는 공동 소유할 수 있으며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소유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지분은 별도로 상의하여 정하도록 합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 </a:t>
            </a:r>
            <a:b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5)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은 상기의 통상 실시권이 허여되는 경우 “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SK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브로드밴</a:t>
            </a:r>
            <a:r>
              <a:rPr kumimoji="0" lang="ko-KR" altLang="en-US" sz="1200" dirty="0" err="1">
                <a:solidFill>
                  <a:prstClr val="black"/>
                </a:solidFill>
                <a:latin typeface="맑은 고딕"/>
                <a:ea typeface="맑은 고딕"/>
              </a:rPr>
              <a:t>드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”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의 계열사에게 이와 관련한 권리 등을 위임 또는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/>
            </a:r>
            <a:b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</a:b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    </a:t>
            </a:r>
            <a:r>
              <a:rPr kumimoji="0" lang="ko-KR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허락 </a:t>
            </a:r>
            <a:r>
              <a:rPr kumimoji="0" lang="ko-KR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등을 할 수 있습니다</a:t>
            </a:r>
            <a:r>
              <a:rPr kumimoji="0" lang="en-US" altLang="ko-KR" sz="1200" dirty="0">
                <a:solidFill>
                  <a:prstClr val="black"/>
                </a:solidFill>
                <a:latin typeface="맑은 고딕"/>
                <a:ea typeface="맑은 고딕"/>
              </a:rPr>
              <a:t>.  </a:t>
            </a: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날짜 </a:t>
            </a:r>
            <a:r>
              <a:rPr kumimoji="0"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: 2019</a:t>
            </a: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년 </a:t>
            </a:r>
            <a:r>
              <a:rPr kumimoji="0" lang="en-US" altLang="ko-KR" sz="1200" dirty="0">
                <a:solidFill>
                  <a:srgbClr val="FF0000"/>
                </a:solidFill>
                <a:latin typeface="맑은 고딕"/>
                <a:ea typeface="맑은 고딕"/>
              </a:rPr>
              <a:t> 3</a:t>
            </a: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월 </a:t>
            </a:r>
            <a:r>
              <a:rPr kumimoji="0"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 18</a:t>
            </a: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일</a:t>
            </a:r>
            <a:endParaRPr kumimoji="0" lang="en-US" altLang="ko-KR" sz="1200" dirty="0" smtClean="0">
              <a:solidFill>
                <a:srgbClr val="FF0000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성명</a:t>
            </a:r>
            <a:r>
              <a:rPr kumimoji="0"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: </a:t>
            </a: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박천욱</a:t>
            </a:r>
            <a:r>
              <a:rPr kumimoji="0"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 (</a:t>
            </a:r>
            <a:r>
              <a:rPr kumimoji="0" lang="ko-KR" altLang="en-US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인</a:t>
            </a:r>
            <a:r>
              <a:rPr kumimoji="0" lang="en-US" altLang="ko-KR" sz="1200" dirty="0" smtClean="0">
                <a:solidFill>
                  <a:srgbClr val="FF0000"/>
                </a:solidFill>
                <a:latin typeface="맑은 고딕"/>
                <a:ea typeface="맑은 고딕"/>
              </a:rPr>
              <a:t>)</a:t>
            </a:r>
            <a:endParaRPr kumimoji="0" lang="en-US" altLang="ko-KR" sz="1200" dirty="0">
              <a:solidFill>
                <a:srgbClr val="FF0000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끝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ko-KR" sz="12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altLang="ko-KR" sz="120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1594" y="4797152"/>
            <a:ext cx="1170665" cy="60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648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70" name="그림 6"/>
            <p:cNvPicPr>
              <a:picLocks noChangeAspect="1"/>
            </p:cNvPicPr>
            <p:nvPr/>
          </p:nvPicPr>
          <p:blipFill rotWithShape="1">
            <a:blip r:embed="rId4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  <p:pic>
          <p:nvPicPr>
            <p:cNvPr id="69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</p:grpSp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814302" y="544708"/>
          <a:ext cx="1383" cy="1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4302" y="544708"/>
                        <a:ext cx="1383" cy="1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그림 57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>
            <a:off x="3626142" y="1052736"/>
            <a:ext cx="3007727" cy="4880341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 rot="5070117">
            <a:off x="2829035" y="3702174"/>
            <a:ext cx="981198" cy="1077394"/>
          </a:xfrm>
          <a:prstGeom prst="rect">
            <a:avLst/>
          </a:prstGeom>
        </p:spPr>
      </p:pic>
      <p:pic>
        <p:nvPicPr>
          <p:cNvPr id="60" name="그림 59"/>
          <p:cNvPicPr>
            <a:picLocks noChangeAspect="1"/>
          </p:cNvPicPr>
          <p:nvPr/>
        </p:nvPicPr>
        <p:blipFill rotWithShape="1">
          <a:blip r:embed="rId10"/>
          <a:stretch>
            <a:fillRect/>
          </a:stretch>
        </p:blipFill>
        <p:spPr>
          <a:xfrm rot="20753406" flipV="1">
            <a:off x="6216807" y="1999608"/>
            <a:ext cx="1090752" cy="1161695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 rotWithShape="1">
          <a:blip r:embed="rId11"/>
          <a:stretch>
            <a:fillRect/>
          </a:stretch>
        </p:blipFill>
        <p:spPr>
          <a:xfrm rot="10438460" flipV="1">
            <a:off x="6283931" y="3452860"/>
            <a:ext cx="1321091" cy="827285"/>
          </a:xfrm>
          <a:prstGeom prst="rect">
            <a:avLst/>
          </a:prstGeom>
        </p:spPr>
      </p:pic>
      <p:sp>
        <p:nvSpPr>
          <p:cNvPr id="63" name="직사각형 10"/>
          <p:cNvSpPr/>
          <p:nvPr/>
        </p:nvSpPr>
        <p:spPr>
          <a:xfrm>
            <a:off x="593502" y="3081076"/>
            <a:ext cx="28384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1)</a:t>
            </a:r>
            <a:r>
              <a:rPr lang="ko-KR" altLang="en-US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시간을 조절할 수 있는</a:t>
            </a:r>
          </a:p>
          <a:p>
            <a:pPr lvl="0" algn="ctr">
              <a:defRPr/>
            </a:pPr>
            <a:r>
              <a:rPr lang="en-US" altLang="ko-KR" sz="20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TimeSeeker</a:t>
            </a:r>
            <a:r>
              <a:rPr lang="en-US" altLang="ko-KR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endParaRPr lang="ko-KR" altLang="en-US" sz="2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  <p:sp>
        <p:nvSpPr>
          <p:cNvPr id="64" name="직사각형 10"/>
          <p:cNvSpPr/>
          <p:nvPr/>
        </p:nvSpPr>
        <p:spPr>
          <a:xfrm>
            <a:off x="7048904" y="2926800"/>
            <a:ext cx="286963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2)</a:t>
            </a:r>
            <a:r>
              <a:rPr lang="ko-KR" altLang="en-US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영상에 자막을 넣을 수 있는 </a:t>
            </a:r>
            <a:r>
              <a:rPr lang="en-US" altLang="ko-KR" sz="20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ScriptMaker</a:t>
            </a:r>
            <a:endParaRPr lang="ko-KR" altLang="en-US" sz="2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12"/>
          <a:stretch>
            <a:fillRect/>
          </a:stretch>
        </p:blipFill>
        <p:spPr>
          <a:xfrm>
            <a:off x="5978369" y="3428227"/>
            <a:ext cx="355020" cy="355020"/>
          </a:xfrm>
          <a:prstGeom prst="rect">
            <a:avLst/>
          </a:prstGeom>
        </p:spPr>
      </p:pic>
      <p:sp>
        <p:nvSpPr>
          <p:cNvPr id="67" name="직사각형 10"/>
          <p:cNvSpPr/>
          <p:nvPr/>
        </p:nvSpPr>
        <p:spPr>
          <a:xfrm>
            <a:off x="6633868" y="4240871"/>
            <a:ext cx="32846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3)</a:t>
            </a:r>
            <a:r>
              <a:rPr lang="ko-KR" altLang="en-US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다운로드 된 영상을 바로 </a:t>
            </a:r>
            <a:r>
              <a:rPr lang="en-US" altLang="ko-KR" sz="20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로 업로드 가능</a:t>
            </a:r>
            <a:endParaRPr lang="ko-KR" altLang="en-US" sz="2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199082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71" name="그림 5"/>
            <p:cNvPicPr>
              <a:picLocks noChangeAspect="1"/>
            </p:cNvPicPr>
            <p:nvPr/>
          </p:nvPicPr>
          <p:blipFill rotWithShape="1">
            <a:blip r:embed="rId3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2" name="그림 6"/>
            <p:cNvPicPr>
              <a:picLocks noChangeAspect="1"/>
            </p:cNvPicPr>
            <p:nvPr/>
          </p:nvPicPr>
          <p:blipFill rotWithShape="1">
            <a:blip r:embed="rId4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814302" y="544708"/>
          <a:ext cx="1383" cy="1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4302" y="544708"/>
                        <a:ext cx="1383" cy="1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그림 57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5939912" y="1205002"/>
            <a:ext cx="3007727" cy="4880341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 rot="1339586">
            <a:off x="5045842" y="4655107"/>
            <a:ext cx="981198" cy="1077394"/>
          </a:xfrm>
          <a:prstGeom prst="rect">
            <a:avLst/>
          </a:prstGeom>
        </p:spPr>
      </p:pic>
      <p:sp>
        <p:nvSpPr>
          <p:cNvPr id="63" name="직사각형 10"/>
          <p:cNvSpPr/>
          <p:nvPr/>
        </p:nvSpPr>
        <p:spPr>
          <a:xfrm>
            <a:off x="485489" y="4883219"/>
            <a:ext cx="46445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3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1)</a:t>
            </a:r>
            <a:r>
              <a:rPr lang="ko-KR" altLang="en-US" sz="3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3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시간을 조절할 수 있는</a:t>
            </a:r>
          </a:p>
          <a:p>
            <a:pPr lvl="0" algn="ctr">
              <a:defRPr/>
            </a:pPr>
            <a:r>
              <a:rPr lang="en-US" altLang="ko-KR" sz="30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TimeSeeker</a:t>
            </a:r>
            <a:endParaRPr lang="ko-KR" altLang="en-US" sz="3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>
            <a:off x="8292138" y="3580493"/>
            <a:ext cx="355020" cy="355020"/>
          </a:xfrm>
          <a:prstGeom prst="rect">
            <a:avLst/>
          </a:prstGeom>
        </p:spPr>
      </p:pic>
      <p:sp>
        <p:nvSpPr>
          <p:cNvPr id="69" name="직사각형 8"/>
          <p:cNvSpPr/>
          <p:nvPr/>
        </p:nvSpPr>
        <p:spPr>
          <a:xfrm>
            <a:off x="653492" y="1566035"/>
            <a:ext cx="5052578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6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-</a:t>
            </a:r>
            <a:r>
              <a:rPr lang="ko-KR" altLang="en-US" sz="26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2600" b="1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TimeSeeker</a:t>
            </a:r>
            <a:r>
              <a:rPr lang="en-US" altLang="ko-KR" sz="26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26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-</a:t>
            </a:r>
            <a:endParaRPr lang="ko-KR" altLang="en-US" sz="26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26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4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skApi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의 </a:t>
            </a:r>
            <a:r>
              <a:rPr lang="en-US" altLang="ko-KR" sz="14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getPlaybackDownLoad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ko-KR" altLang="en-US" sz="14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메서드는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다운로드 기능을 제공합니다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</a:p>
          <a:p>
            <a:pPr lvl="0">
              <a:defRPr/>
            </a:pPr>
            <a:endParaRPr lang="en-US" altLang="ko-KR" sz="1400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-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이 </a:t>
            </a:r>
            <a:r>
              <a:rPr lang="ko-KR" altLang="en-US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메서드의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400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fromDateTime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과 </a:t>
            </a:r>
            <a:r>
              <a:rPr lang="en-US" altLang="ko-KR" sz="14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toDateTime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값을 </a:t>
            </a:r>
            <a:r>
              <a:rPr lang="en-US" altLang="ko-KR" sz="14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TimeSeeker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를 활용해 </a:t>
            </a:r>
            <a:r>
              <a:rPr lang="en-US" altLang="ko-KR" sz="1400" b="1" spc="-100" dirty="0" err="1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29B969"/>
                </a:solidFill>
                <a:latin typeface="뫼비우스 Bold"/>
                <a:ea typeface="뫼비우스 Bold"/>
              </a:rPr>
              <a:t>mmss</a:t>
            </a:r>
            <a:r>
              <a:rPr lang="ko-KR" altLang="en-US" sz="14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29B969"/>
                </a:solidFill>
                <a:latin typeface="뫼비우스 Bold"/>
                <a:ea typeface="뫼비우스 Bold"/>
              </a:rPr>
              <a:t> 까지 </a:t>
            </a:r>
            <a:r>
              <a:rPr lang="ko-KR" altLang="en-US" sz="14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29B969"/>
                </a:solidFill>
                <a:latin typeface="뫼비우스 Bold"/>
                <a:ea typeface="뫼비우스 Bold"/>
              </a:rPr>
              <a:t>지정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가능하게 개선하고자 합니다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endParaRPr lang="en-US" altLang="ko-KR" sz="1400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-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사용자가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원하는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그 어떤 시간대도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다운로드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호출이 가능하게 편의를 제공하겠습니다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8"/>
          <a:stretch>
            <a:fillRect/>
          </a:stretch>
        </p:blipFill>
        <p:spPr>
          <a:xfrm rot="1339586">
            <a:off x="5045842" y="4655106"/>
            <a:ext cx="981198" cy="1077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209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814302" y="544708"/>
          <a:ext cx="1383" cy="1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2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4302" y="544708"/>
                        <a:ext cx="1383" cy="1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그림 57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1444636" y="1205002"/>
            <a:ext cx="3007727" cy="4880341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 rotWithShape="1">
          <a:blip r:embed="rId6"/>
          <a:stretch>
            <a:fillRect/>
          </a:stretch>
        </p:blipFill>
        <p:spPr>
          <a:xfrm rot="17296962" flipV="1">
            <a:off x="3974101" y="1633012"/>
            <a:ext cx="1090752" cy="1161695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>
            <a:off x="3796863" y="3580493"/>
            <a:ext cx="355020" cy="355020"/>
          </a:xfrm>
          <a:prstGeom prst="rect">
            <a:avLst/>
          </a:prstGeom>
        </p:spPr>
      </p:pic>
      <p:grpSp>
        <p:nvGrpSpPr>
          <p:cNvPr id="64" name="그룹 4"/>
          <p:cNvGrpSpPr/>
          <p:nvPr/>
        </p:nvGrpSpPr>
        <p:grpSpPr>
          <a:xfrm>
            <a:off x="1" y="0"/>
            <a:ext cx="10289096" cy="6858000"/>
            <a:chOff x="-9575" y="-3475"/>
            <a:chExt cx="9953283" cy="6861772"/>
          </a:xfrm>
        </p:grpSpPr>
        <p:pic>
          <p:nvPicPr>
            <p:cNvPr id="66" name="그림 6"/>
            <p:cNvPicPr>
              <a:picLocks noChangeAspect="1"/>
            </p:cNvPicPr>
            <p:nvPr/>
          </p:nvPicPr>
          <p:blipFill rotWithShape="1">
            <a:blip r:embed="rId8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  <p:pic>
          <p:nvPicPr>
            <p:cNvPr id="65" name="그림 5"/>
            <p:cNvPicPr>
              <a:picLocks noChangeAspect="1"/>
            </p:cNvPicPr>
            <p:nvPr/>
          </p:nvPicPr>
          <p:blipFill rotWithShape="1">
            <a:blip r:embed="rId9"/>
            <a:srcRect l="49920"/>
            <a:stretch>
              <a:fillRect/>
            </a:stretch>
          </p:blipFill>
          <p:spPr>
            <a:xfrm>
              <a:off x="4972928" y="-3475"/>
              <a:ext cx="4970780" cy="6858594"/>
            </a:xfrm>
            <a:prstGeom prst="rect">
              <a:avLst/>
            </a:prstGeom>
          </p:spPr>
        </p:pic>
      </p:grpSp>
      <p:sp>
        <p:nvSpPr>
          <p:cNvPr id="62" name="직사각형 8"/>
          <p:cNvSpPr/>
          <p:nvPr/>
        </p:nvSpPr>
        <p:spPr>
          <a:xfrm>
            <a:off x="4881388" y="2750578"/>
            <a:ext cx="4721582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-</a:t>
            </a:r>
            <a:r>
              <a:rPr lang="ko-KR" altLang="en-US" sz="2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20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ScriptMaker</a:t>
            </a:r>
            <a:r>
              <a:rPr lang="en-US" altLang="ko-KR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2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-</a:t>
            </a:r>
            <a:endParaRPr lang="ko-KR" altLang="en-US" sz="2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2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아직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4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skApi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에서 제공하지 않지만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Clip Cam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에 꼭 필요한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기능입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endParaRPr lang="en-US" altLang="ko-KR" sz="1400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endParaRPr lang="en-US" altLang="ko-KR" sz="1400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-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영상에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29B969"/>
                </a:solidFill>
                <a:latin typeface="뫼비우스 Bold"/>
                <a:ea typeface="뫼비우스 Bold"/>
              </a:rPr>
              <a:t>짧은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29B969"/>
                </a:solidFill>
                <a:latin typeface="뫼비우스 Bold"/>
                <a:ea typeface="뫼비우스 Bold"/>
              </a:rPr>
              <a:t>자막을 집어 넣는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29B969"/>
                </a:solidFill>
                <a:latin typeface="뫼비우스 Bold"/>
                <a:ea typeface="뫼비우스 Bold"/>
              </a:rPr>
              <a:t>기능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으로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사용자가 나만의 영상을 만들고 공유할 수 있는 경험을 제공합니다</a:t>
            </a:r>
            <a:r>
              <a:rPr lang="en-US" altLang="ko-KR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endParaRPr lang="en-US" altLang="ko-KR" sz="1400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-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구름 </a:t>
            </a:r>
            <a:r>
              <a:rPr lang="ko-KR" altLang="en-US" sz="14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버튼으로 서버에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다운로드를 요청하면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, </a:t>
            </a:r>
            <a:r>
              <a:rPr lang="ko-KR" altLang="en-US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바로 휴대폰 으로 제작한 클립영상이 들어옵니다</a:t>
            </a:r>
            <a:r>
              <a:rPr lang="en-US" altLang="ko-KR" sz="14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endParaRPr lang="en-US" altLang="ko-KR" sz="14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  <p:sp>
        <p:nvSpPr>
          <p:cNvPr id="60" name="직사각형 10"/>
          <p:cNvSpPr/>
          <p:nvPr/>
        </p:nvSpPr>
        <p:spPr>
          <a:xfrm>
            <a:off x="4803289" y="1200878"/>
            <a:ext cx="420500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3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2)</a:t>
            </a:r>
            <a:r>
              <a:rPr lang="ko-KR" altLang="en-US" sz="30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자막을 </a:t>
            </a:r>
            <a:r>
              <a:rPr lang="ko-KR" altLang="en-US" sz="30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넣을 수 있는 </a:t>
            </a:r>
            <a:r>
              <a:rPr lang="en-US" altLang="ko-KR" sz="30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ScriptMaker</a:t>
            </a:r>
            <a:endParaRPr lang="ko-KR" altLang="en-US" sz="30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67646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814302" y="544708"/>
          <a:ext cx="1383" cy="1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6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4302" y="544708"/>
                        <a:ext cx="1383" cy="1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그림 57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1444636" y="1205002"/>
            <a:ext cx="3007727" cy="4880341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 rotWithShape="1">
          <a:blip r:embed="rId6"/>
          <a:stretch>
            <a:fillRect/>
          </a:stretch>
        </p:blipFill>
        <p:spPr>
          <a:xfrm>
            <a:off x="3796863" y="3580493"/>
            <a:ext cx="355020" cy="355020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 rotWithShape="1">
          <a:blip r:embed="rId7"/>
          <a:stretch>
            <a:fillRect/>
          </a:stretch>
        </p:blipFill>
        <p:spPr>
          <a:xfrm rot="11050318" flipV="1">
            <a:off x="4180225" y="3692131"/>
            <a:ext cx="1321091" cy="827285"/>
          </a:xfrm>
          <a:prstGeom prst="rect">
            <a:avLst/>
          </a:prstGeom>
        </p:spPr>
      </p:pic>
      <p:grpSp>
        <p:nvGrpSpPr>
          <p:cNvPr id="65" name="그룹 4"/>
          <p:cNvGrpSpPr/>
          <p:nvPr/>
        </p:nvGrpSpPr>
        <p:grpSpPr>
          <a:xfrm>
            <a:off x="1" y="-5316"/>
            <a:ext cx="10285205" cy="6863316"/>
            <a:chOff x="-9575" y="-8794"/>
            <a:chExt cx="9949520" cy="6867091"/>
          </a:xfrm>
        </p:grpSpPr>
        <p:pic>
          <p:nvPicPr>
            <p:cNvPr id="66" name="그림 5"/>
            <p:cNvPicPr>
              <a:picLocks noChangeAspect="1"/>
            </p:cNvPicPr>
            <p:nvPr/>
          </p:nvPicPr>
          <p:blipFill rotWithShape="1">
            <a:blip r:embed="rId8"/>
            <a:srcRect l="49920"/>
            <a:stretch>
              <a:fillRect/>
            </a:stretch>
          </p:blipFill>
          <p:spPr>
            <a:xfrm>
              <a:off x="4969165" y="-8794"/>
              <a:ext cx="4970780" cy="6858594"/>
            </a:xfrm>
            <a:prstGeom prst="rect">
              <a:avLst/>
            </a:prstGeom>
          </p:spPr>
        </p:pic>
        <p:pic>
          <p:nvPicPr>
            <p:cNvPr id="67" name="그림 6"/>
            <p:cNvPicPr>
              <a:picLocks noChangeAspect="1"/>
            </p:cNvPicPr>
            <p:nvPr/>
          </p:nvPicPr>
          <p:blipFill rotWithShape="1">
            <a:blip r:embed="rId9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62" name="직사각형 8"/>
          <p:cNvSpPr/>
          <p:nvPr/>
        </p:nvSpPr>
        <p:spPr>
          <a:xfrm>
            <a:off x="4834160" y="1898006"/>
            <a:ext cx="48965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4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-</a:t>
            </a:r>
            <a:r>
              <a:rPr lang="ko-KR" altLang="en-US" sz="2400" b="1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en-US" altLang="ko-KR" sz="24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Sharing -</a:t>
            </a:r>
            <a:endParaRPr lang="ko-KR" altLang="en-US" sz="24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endParaRPr lang="ko-KR" altLang="en-US" sz="24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- Share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버튼 한번으로 </a:t>
            </a:r>
            <a:r>
              <a:rPr lang="en-US" altLang="ko-KR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SNS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에 바로 공유 가능합니다</a:t>
            </a:r>
            <a:r>
              <a:rPr lang="en-US" altLang="ko-KR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endParaRPr lang="en-US" altLang="ko-KR" sz="1600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  <a:p>
            <a:pPr lvl="0">
              <a:defRPr/>
            </a:pPr>
            <a:r>
              <a:rPr lang="en-US" altLang="ko-KR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- SNS</a:t>
            </a:r>
            <a:r>
              <a:rPr lang="ko-KR" altLang="en-US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밀착형 삶을 사는  현대인들의 높은 </a:t>
            </a:r>
            <a:r>
              <a:rPr lang="ko-KR" altLang="en-US" sz="1600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활용성을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기대합니다</a:t>
            </a:r>
            <a:r>
              <a:rPr lang="en-US" altLang="ko-KR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.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latin typeface="뫼비우스 Bold"/>
                <a:ea typeface="뫼비우스 Bold"/>
              </a:rPr>
              <a:t> </a:t>
            </a:r>
            <a:endParaRPr lang="en-US" altLang="ko-KR" sz="1600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  <p:sp>
        <p:nvSpPr>
          <p:cNvPr id="60" name="직사각형 10"/>
          <p:cNvSpPr/>
          <p:nvPr/>
        </p:nvSpPr>
        <p:spPr>
          <a:xfrm>
            <a:off x="4803291" y="4566376"/>
            <a:ext cx="4205001" cy="946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3)</a:t>
            </a:r>
            <a:r>
              <a:rPr lang="ko-KR" altLang="en-US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28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다운로드한</a:t>
            </a:r>
            <a:r>
              <a:rPr lang="ko-KR" altLang="en-US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 영상을 </a:t>
            </a:r>
            <a:endParaRPr lang="en-US" altLang="ko-KR" sz="2800" b="1" spc="-100" dirty="0" smtClean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  <a:p>
            <a:pPr lvl="0" algn="ctr">
              <a:defRPr/>
            </a:pPr>
            <a:r>
              <a:rPr lang="ko-KR" altLang="en-US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바</a:t>
            </a:r>
            <a:r>
              <a:rPr lang="en-US" altLang="ko-KR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~</a:t>
            </a:r>
            <a:r>
              <a:rPr lang="ko-KR" altLang="en-US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로 </a:t>
            </a:r>
            <a:r>
              <a:rPr lang="en-US" altLang="ko-KR" sz="2800" b="1" spc="-100" dirty="0" err="1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sns</a:t>
            </a:r>
            <a:r>
              <a:rPr lang="ko-KR" altLang="en-US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로</a:t>
            </a:r>
            <a:r>
              <a:rPr lang="en-US" altLang="ko-KR" sz="2800" b="1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!</a:t>
            </a:r>
            <a:endParaRPr lang="ko-KR" altLang="en-US" sz="2800" b="1" spc="-100" dirty="0">
              <a:ln w="9525">
                <a:solidFill>
                  <a:srgbClr val="5B9BD5">
                    <a:alpha val="0"/>
                  </a:srgbClr>
                </a:solidFill>
              </a:ln>
              <a:solidFill>
                <a:srgbClr val="EA002C"/>
              </a:solidFill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62733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177006" y="0"/>
            <a:ext cx="9922598" cy="6858000"/>
          </a:xfrm>
          <a:prstGeom prst="rect">
            <a:avLst/>
          </a:prstGeom>
          <a:pattFill prst="lt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pc="-150" dirty="0">
              <a:latin typeface="Century Gothic" panose="020B0502020202020204" pitchFamily="34" charset="0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xmlns="" id="{234FE5C1-F5BE-4BA0-BAC8-BE057FE360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78" b="27643"/>
          <a:stretch/>
        </p:blipFill>
        <p:spPr>
          <a:xfrm>
            <a:off x="173346" y="-1"/>
            <a:ext cx="9909660" cy="4332849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3059907" y="4491394"/>
            <a:ext cx="66716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ko-KR" altLang="en-US" sz="48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시연 및 </a:t>
            </a:r>
            <a:r>
              <a:rPr lang="ko-KR" altLang="en-US" sz="48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코드 자료</a:t>
            </a:r>
            <a:endParaRPr lang="ko-KR" altLang="en-US" sz="48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77006" y="4303643"/>
            <a:ext cx="9922598" cy="141749"/>
          </a:xfrm>
          <a:prstGeom prst="rect">
            <a:avLst/>
          </a:pr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466769" y="4303643"/>
            <a:ext cx="3632835" cy="141749"/>
          </a:xfrm>
          <a:prstGeom prst="rect">
            <a:avLst/>
          </a:prstGeom>
          <a:solidFill>
            <a:srgbClr val="FF7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77007" y="1"/>
            <a:ext cx="9930897" cy="4303641"/>
          </a:xfrm>
          <a:prstGeom prst="rect">
            <a:avLst/>
          </a:prstGeom>
          <a:solidFill>
            <a:schemeClr val="tx1">
              <a:lumMod val="95000"/>
              <a:lumOff val="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1537" y="319207"/>
            <a:ext cx="1088856" cy="349473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7768459" y="3092862"/>
            <a:ext cx="21268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en-US" altLang="ko-KR" sz="96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05</a:t>
            </a:r>
            <a:endParaRPr lang="ko-KR" altLang="en-US" sz="96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426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17" name="직사각형 16"/>
          <p:cNvSpPr/>
          <p:nvPr/>
        </p:nvSpPr>
        <p:spPr>
          <a:xfrm>
            <a:off x="485490" y="941811"/>
            <a:ext cx="60126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5. </a:t>
            </a:r>
            <a:r>
              <a:rPr lang="ko-KR" altLang="en-US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시연 및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코드 자료 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493602" y="1844824"/>
            <a:ext cx="7767343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0.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아이디어가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아닌 개발 분야로 지원하는 만큼</a:t>
            </a:r>
            <a:r>
              <a:rPr lang="en-US" altLang="ko-KR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,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저희가 제공하고자 한 서비스의 시작부터 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끝까지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일련의  모든 과정을 구현했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산출물은 다음과 같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1. 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시연 영상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을 함께 제출하였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파일이 깨질 경우를 대비하여 </a:t>
            </a:r>
            <a:r>
              <a:rPr lang="ko-KR" altLang="en-US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유튜브</a:t>
            </a:r>
            <a:r>
              <a:rPr lang="ko-KR" altLang="en-US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에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시연 영상을 업로드 하였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</a:p>
          <a:p>
            <a:pPr lvl="0"/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-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링크 주소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: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  <a:hlinkClick r:id="rId8"/>
              </a:rPr>
              <a:t>https://youtu.be/i5pKxG_KeVo</a:t>
            </a:r>
            <a:endParaRPr lang="en-US" altLang="ko-KR" sz="1400" spc="-100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ko-KR" altLang="en-US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안드로이드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apk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파일을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제출했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첨부한 </a:t>
            </a:r>
            <a:r>
              <a:rPr lang="en-US" altLang="ko-KR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apk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파일에 문제가 생길 경우를 대비하여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 </a:t>
            </a:r>
            <a:r>
              <a:rPr lang="en-US" altLang="ko-KR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Git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Hub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 백업해 두었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-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링크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주소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: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9"/>
              </a:rPr>
              <a:t>https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9"/>
              </a:rPr>
              <a:t>://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  <a:hlinkClick r:id="rId9"/>
              </a:rPr>
              <a:t>github.com/guard1000/Cloud_Cam_API_Contest_BlueScreen</a:t>
            </a:r>
            <a:endParaRPr lang="en-US" altLang="ko-KR" sz="14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3.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개인 가상환경에서 실행되는 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Flask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로 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구현한 웹 </a:t>
            </a:r>
            <a:r>
              <a:rPr lang="ko-KR" altLang="en-US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앱을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첨부하였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</a:p>
          <a:p>
            <a:pPr lvl="0"/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해당 자료에 문제가 생길 경우에 대비하여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,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6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Git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Hub</a:t>
            </a:r>
            <a:r>
              <a:rPr lang="ko-KR" altLang="en-US" sz="16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에</a:t>
            </a:r>
            <a:r>
              <a:rPr lang="ko-KR" altLang="en-US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백업해 두었습니다</a:t>
            </a:r>
            <a:r>
              <a:rPr lang="en-US" altLang="ko-KR" sz="16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</a:p>
          <a:p>
            <a:pPr lvl="0"/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- 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링크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주소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: </a:t>
            </a:r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  <a:hlinkClick r:id="rId10"/>
              </a:rPr>
              <a:t>https://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  <a:hlinkClick r:id="rId10"/>
              </a:rPr>
              <a:t>github.com/ahg223/4-1-Flask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endParaRPr lang="en-US" altLang="ko-KR" sz="1400" spc="-100" dirty="0" smtClean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r>
              <a:rPr lang="en-US" altLang="ko-KR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-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뒷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슬라이드에도 웹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앱에서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동작하는 코드 </a:t>
            </a:r>
            <a:r>
              <a:rPr lang="ko-KR" altLang="en-US" sz="1400" spc="-100" dirty="0" err="1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캡처본을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 첨부했습니다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latin typeface="뫼비우스 Bold" panose="02000500000000000000" pitchFamily="2" charset="-127"/>
                <a:ea typeface="뫼비우스 Bold" panose="02000500000000000000" pitchFamily="2" charset="-127"/>
              </a:rPr>
              <a:t>.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/>
            <a:endParaRPr lang="en-US" altLang="ko-KR" sz="16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  <a:p>
            <a:pPr lvl="0" algn="ctr"/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(</a:t>
            </a:r>
            <a:r>
              <a:rPr lang="ko-KR" altLang="en-US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모든 </a:t>
            </a:r>
            <a:r>
              <a:rPr lang="ko-KR" altLang="en-US" sz="1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백업 경로의 파일들은 첨부한 것과 같은 파일입니다</a:t>
            </a:r>
            <a:r>
              <a:rPr lang="en-US" altLang="ko-KR" sz="1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)</a:t>
            </a:r>
            <a:endParaRPr lang="en-US" altLang="ko-KR" sz="14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4084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5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3836" y="1031985"/>
            <a:ext cx="7173959" cy="5641583"/>
          </a:xfrm>
          <a:prstGeom prst="rect">
            <a:avLst/>
          </a:prstGeom>
        </p:spPr>
      </p:pic>
      <p:sp>
        <p:nvSpPr>
          <p:cNvPr id="8" name="직사각형 8"/>
          <p:cNvSpPr/>
          <p:nvPr/>
        </p:nvSpPr>
        <p:spPr>
          <a:xfrm>
            <a:off x="490620" y="1031985"/>
            <a:ext cx="147616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Code</a:t>
            </a:r>
            <a:endParaRPr lang="ko-KR" altLang="en-US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280831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9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49586" y="867538"/>
            <a:ext cx="7884876" cy="5807514"/>
          </a:xfrm>
          <a:prstGeom prst="rect">
            <a:avLst/>
          </a:prstGeom>
        </p:spPr>
      </p:pic>
      <p:sp>
        <p:nvSpPr>
          <p:cNvPr id="8" name="직사각형 8"/>
          <p:cNvSpPr/>
          <p:nvPr/>
        </p:nvSpPr>
        <p:spPr>
          <a:xfrm>
            <a:off x="490620" y="1031985"/>
            <a:ext cx="147616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Code</a:t>
            </a:r>
            <a:endParaRPr lang="ko-KR" altLang="en-US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23457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83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564" y="1628800"/>
            <a:ext cx="9077922" cy="4304994"/>
          </a:xfrm>
          <a:prstGeom prst="rect">
            <a:avLst/>
          </a:prstGeom>
        </p:spPr>
      </p:pic>
      <p:sp>
        <p:nvSpPr>
          <p:cNvPr id="8" name="직사각형 8"/>
          <p:cNvSpPr/>
          <p:nvPr/>
        </p:nvSpPr>
        <p:spPr>
          <a:xfrm>
            <a:off x="490620" y="1031985"/>
            <a:ext cx="147616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Code</a:t>
            </a:r>
            <a:endParaRPr lang="ko-KR" altLang="en-US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257340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7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1535" y="1700808"/>
            <a:ext cx="9198146" cy="3723480"/>
          </a:xfrm>
          <a:prstGeom prst="rect">
            <a:avLst/>
          </a:prstGeom>
        </p:spPr>
      </p:pic>
      <p:sp>
        <p:nvSpPr>
          <p:cNvPr id="8" name="직사각형 8"/>
          <p:cNvSpPr/>
          <p:nvPr/>
        </p:nvSpPr>
        <p:spPr>
          <a:xfrm>
            <a:off x="490620" y="1031985"/>
            <a:ext cx="1476164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  <a:defRPr/>
            </a:pPr>
            <a:r>
              <a:rPr lang="en-US" altLang="ko-KR" sz="23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Code</a:t>
            </a:r>
            <a:endParaRPr lang="ko-KR" altLang="en-US" spc="-100" dirty="0">
              <a:ln w="9525">
                <a:solidFill>
                  <a:srgbClr val="5B9BD5">
                    <a:alpha val="0"/>
                  </a:srgbClr>
                </a:solidFill>
              </a:ln>
              <a:latin typeface="뫼비우스 Bold"/>
              <a:ea typeface="뫼비우스 Bold"/>
            </a:endParaRPr>
          </a:p>
        </p:txBody>
      </p:sp>
    </p:spTree>
    <p:extLst>
      <p:ext uri="{BB962C8B-B14F-4D97-AF65-F5344CB8AC3E}">
        <p14:creationId xmlns:p14="http://schemas.microsoft.com/office/powerpoint/2010/main" val="56182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1" y="80628"/>
            <a:ext cx="102600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2400" b="1" dirty="0">
                <a:solidFill>
                  <a:prstClr val="black"/>
                </a:solidFill>
                <a:latin typeface="맑은 고딕"/>
                <a:ea typeface="맑은 고딕"/>
              </a:rPr>
              <a:t>응모 기본 사항</a:t>
            </a:r>
            <a:r>
              <a:rPr kumimoji="0" lang="en-US" altLang="ko-KR" sz="2400" b="1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2400" b="1" dirty="0">
                <a:solidFill>
                  <a:prstClr val="black"/>
                </a:solidFill>
                <a:latin typeface="맑은 고딕"/>
                <a:ea typeface="맑은 고딕"/>
              </a:rPr>
              <a:t>개발부문</a:t>
            </a:r>
            <a:r>
              <a:rPr kumimoji="0" lang="en-US" altLang="ko-KR" sz="2400" b="1" dirty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endParaRPr kumimoji="0" lang="ko-KR" altLang="en-US" sz="2400" b="1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6034196D-6DD8-45F0-883C-2CAF7B3AC3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6916988"/>
              </p:ext>
            </p:extLst>
          </p:nvPr>
        </p:nvGraphicFramePr>
        <p:xfrm>
          <a:off x="449486" y="764704"/>
          <a:ext cx="9361038" cy="5845550"/>
        </p:xfrm>
        <a:graphic>
          <a:graphicData uri="http://schemas.openxmlformats.org/drawingml/2006/table">
            <a:tbl>
              <a:tblPr firstRow="1" bandRow="1"/>
              <a:tblGrid>
                <a:gridCol w="1337291">
                  <a:extLst>
                    <a:ext uri="{9D8B030D-6E8A-4147-A177-3AD203B41FA5}">
                      <a16:colId xmlns:a16="http://schemas.microsoft.com/office/drawing/2014/main" xmlns="" val="1424357759"/>
                    </a:ext>
                  </a:extLst>
                </a:gridCol>
                <a:gridCol w="1337291">
                  <a:extLst>
                    <a:ext uri="{9D8B030D-6E8A-4147-A177-3AD203B41FA5}">
                      <a16:colId xmlns:a16="http://schemas.microsoft.com/office/drawing/2014/main" xmlns="" val="3853253624"/>
                    </a:ext>
                  </a:extLst>
                </a:gridCol>
                <a:gridCol w="1337291">
                  <a:extLst>
                    <a:ext uri="{9D8B030D-6E8A-4147-A177-3AD203B41FA5}">
                      <a16:colId xmlns:a16="http://schemas.microsoft.com/office/drawing/2014/main" xmlns="" val="611069925"/>
                    </a:ext>
                  </a:extLst>
                </a:gridCol>
                <a:gridCol w="1337291">
                  <a:extLst>
                    <a:ext uri="{9D8B030D-6E8A-4147-A177-3AD203B41FA5}">
                      <a16:colId xmlns:a16="http://schemas.microsoft.com/office/drawing/2014/main" xmlns="" val="3340384663"/>
                    </a:ext>
                  </a:extLst>
                </a:gridCol>
                <a:gridCol w="1337291">
                  <a:extLst>
                    <a:ext uri="{9D8B030D-6E8A-4147-A177-3AD203B41FA5}">
                      <a16:colId xmlns:a16="http://schemas.microsoft.com/office/drawing/2014/main" xmlns="" val="2144550360"/>
                    </a:ext>
                  </a:extLst>
                </a:gridCol>
                <a:gridCol w="2674583">
                  <a:extLst>
                    <a:ext uri="{9D8B030D-6E8A-4147-A177-3AD203B41FA5}">
                      <a16:colId xmlns:a16="http://schemas.microsoft.com/office/drawing/2014/main" xmlns="" val="2807924381"/>
                    </a:ext>
                  </a:extLst>
                </a:gridCol>
              </a:tblGrid>
              <a:tr h="56729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600" b="1" dirty="0"/>
                        <a:t>참가팀 이름</a:t>
                      </a:r>
                      <a:endParaRPr lang="ko-KR" altLang="en-US" sz="16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블루스크린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ctr"/>
                </a:tc>
                <a:tc rowSpan="2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400" b="1" dirty="0"/>
                        <a:t>접수자</a:t>
                      </a:r>
                      <a:endParaRPr lang="en-US" altLang="ko-KR" sz="1400" b="1" dirty="0"/>
                    </a:p>
                    <a:p>
                      <a:pPr algn="ctr" latinLnBrk="1"/>
                      <a:r>
                        <a:rPr lang="en-US" altLang="ko-KR" sz="1400" b="1" dirty="0" smtClean="0"/>
                        <a:t>(</a:t>
                      </a:r>
                      <a:r>
                        <a:rPr lang="ko-KR" altLang="en-US" sz="1400" b="1" dirty="0"/>
                        <a:t>대표</a:t>
                      </a:r>
                      <a:r>
                        <a:rPr lang="en-US" altLang="ko-KR" sz="1400" b="1" dirty="0"/>
                        <a:t>)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박천욱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11477296"/>
                  </a:ext>
                </a:extLst>
              </a:tr>
              <a:tr h="56729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600" b="1" dirty="0"/>
                        <a:t>참가 분야</a:t>
                      </a:r>
                      <a:endParaRPr lang="ko-KR" altLang="en-US" sz="16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개발 </a:t>
                      </a:r>
                      <a:r>
                        <a:rPr lang="ko-KR" altLang="en-US" sz="1200" dirty="0" smtClean="0"/>
                        <a:t>분야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900301319"/>
                  </a:ext>
                </a:extLst>
              </a:tr>
              <a:tr h="56729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팀장 이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박천욱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전화번호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01037808374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이메일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  <a:hlinkClick r:id="rId6"/>
                        </a:rPr>
                        <a:t>cjsdnr885@naver.com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82008589"/>
                  </a:ext>
                </a:extLst>
              </a:tr>
              <a:tr h="56729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팀원</a:t>
                      </a:r>
                      <a:r>
                        <a:rPr lang="en-US" altLang="ko-KR" sz="1200" dirty="0"/>
                        <a:t>1</a:t>
                      </a:r>
                      <a:r>
                        <a:rPr lang="ko-KR" altLang="en-US" sz="1200" dirty="0"/>
                        <a:t> 이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배성현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전화번호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01067809618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이메일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  <a:hlinkClick r:id="rId7"/>
                        </a:rPr>
                        <a:t>sunghyeon86@gmail.com</a:t>
                      </a:r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94597472"/>
                  </a:ext>
                </a:extLst>
              </a:tr>
              <a:tr h="56729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팀원</a:t>
                      </a:r>
                      <a:r>
                        <a:rPr lang="en-US" altLang="ko-KR" sz="1200" dirty="0"/>
                        <a:t>2 </a:t>
                      </a:r>
                      <a:r>
                        <a:rPr lang="ko-KR" altLang="en-US" sz="1200" dirty="0"/>
                        <a:t>이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안형근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전화번호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</a:rPr>
                        <a:t>01067572409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이메일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dirty="0" smtClean="0">
                          <a:latin typeface="+mn-ea"/>
                          <a:ea typeface="+mn-ea"/>
                          <a:hlinkClick r:id="rId8"/>
                        </a:rPr>
                        <a:t>ahg2230@gmail.com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09748555"/>
                  </a:ext>
                </a:extLst>
              </a:tr>
              <a:tr h="56729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팀원</a:t>
                      </a:r>
                      <a:r>
                        <a:rPr lang="en-US" altLang="ko-KR" sz="1200" dirty="0"/>
                        <a:t>3 </a:t>
                      </a:r>
                      <a:r>
                        <a:rPr lang="ko-KR" altLang="en-US" sz="1200" dirty="0"/>
                        <a:t>이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전화번호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/>
                        <a:t>이메일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19418783"/>
                  </a:ext>
                </a:extLst>
              </a:tr>
              <a:tr h="567290">
                <a:tc gridSpan="6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200" dirty="0" smtClean="0"/>
                        <a:t>신규 영상 서비스에 </a:t>
                      </a:r>
                      <a:r>
                        <a:rPr lang="ko-KR" altLang="en-US" sz="1200" dirty="0"/>
                        <a:t>대한 간략한 설명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한</a:t>
                      </a:r>
                      <a:r>
                        <a:rPr lang="en-US" altLang="ko-KR" sz="1200" dirty="0"/>
                        <a:t> </a:t>
                      </a:r>
                      <a:r>
                        <a:rPr lang="ko-KR" altLang="en-US" sz="1200" dirty="0"/>
                        <a:t>단락 이내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53248044"/>
                  </a:ext>
                </a:extLst>
              </a:tr>
              <a:tr h="1435955">
                <a:tc gridSpan="6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 SKB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의 </a:t>
                      </a:r>
                      <a:r>
                        <a:rPr lang="ko-KR" altLang="en-US" sz="1050" b="1" dirty="0" err="1" smtClean="0">
                          <a:latin typeface="+mn-ea"/>
                          <a:ea typeface="+mn-ea"/>
                        </a:rPr>
                        <a:t>클라우드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 캠은 </a:t>
                      </a:r>
                      <a:r>
                        <a:rPr lang="ko-KR" altLang="en-US" sz="1050" b="1" dirty="0" err="1" smtClean="0">
                          <a:latin typeface="+mn-ea"/>
                          <a:ea typeface="+mn-ea"/>
                        </a:rPr>
                        <a:t>클라우드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 플랫폼을 활용한 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CCTV</a:t>
                      </a:r>
                      <a:r>
                        <a:rPr lang="en-US" altLang="ko-KR" sz="1050" b="1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융합보안 솔루션 서비스로써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사용자가 영상의 특정 부분을 갖고 싶다면 웹 페이지를 통해 분 단위로 다운 받을 수 있는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간단하고 강력한 기능을 제공하고 있습니다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하지만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 해당 기능은 모바일 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App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에서 제공되지 않으며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,</a:t>
                      </a:r>
                      <a:r>
                        <a:rPr lang="en-US" altLang="ko-KR" sz="1050" b="1" baseline="0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50" b="1" baseline="0" dirty="0" smtClean="0">
                          <a:latin typeface="+mn-ea"/>
                          <a:ea typeface="+mn-ea"/>
                        </a:rPr>
                        <a:t>사용자들은 설치한 </a:t>
                      </a:r>
                      <a:r>
                        <a:rPr lang="en-US" altLang="ko-KR" sz="1050" b="1" baseline="0" dirty="0" smtClean="0">
                          <a:latin typeface="+mn-ea"/>
                          <a:ea typeface="+mn-ea"/>
                        </a:rPr>
                        <a:t>CCTV </a:t>
                      </a:r>
                      <a:r>
                        <a:rPr lang="ko-KR" altLang="en-US" sz="1050" b="1" baseline="0" dirty="0" smtClean="0">
                          <a:latin typeface="+mn-ea"/>
                          <a:ea typeface="+mn-ea"/>
                        </a:rPr>
                        <a:t>영상 데이터가 자신의 소유가 아니라 </a:t>
                      </a:r>
                      <a:r>
                        <a:rPr lang="en-US" altLang="ko-KR" sz="1050" b="1" baseline="0" dirty="0" smtClean="0">
                          <a:latin typeface="+mn-ea"/>
                          <a:ea typeface="+mn-ea"/>
                        </a:rPr>
                        <a:t>SKB</a:t>
                      </a:r>
                      <a:r>
                        <a:rPr lang="ko-KR" altLang="en-US" sz="1050" b="1" baseline="0" dirty="0" smtClean="0">
                          <a:latin typeface="+mn-ea"/>
                          <a:ea typeface="+mn-ea"/>
                        </a:rPr>
                        <a:t>가 소유한다는 인식을 갖게 되었습니다</a:t>
                      </a:r>
                      <a:r>
                        <a:rPr lang="en-US" altLang="ko-KR" sz="1050" b="1" baseline="0" dirty="0" smtClean="0"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‘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만약 모바일에서 간단한 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UI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를 통해 원하는 길이의 짧은 영상을 손안의 휴대폰에서 다운받거나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사용자가 원하는 한 줄 자막을 추가한 영상 클립을 소유할 수 있게 하면 어떨까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’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는 생각에서 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API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를 개발하였습니다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해당 기능은 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SNS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를 통하여 소상공인의 가게 홍보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일반인의 일상 공유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50" b="1" dirty="0" smtClean="0">
                          <a:latin typeface="+mn-ea"/>
                          <a:ea typeface="+mn-ea"/>
                        </a:rPr>
                        <a:t>도둑을 향한 경고 등 새로운 가치를 창출할 수 있습니다</a:t>
                      </a:r>
                      <a:r>
                        <a:rPr lang="en-US" altLang="ko-KR" sz="1050" b="1" dirty="0" smtClean="0">
                          <a:latin typeface="+mn-ea"/>
                          <a:ea typeface="+mn-ea"/>
                        </a:rPr>
                        <a:t>.</a:t>
                      </a:r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8562092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429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7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pic>
        <p:nvPicPr>
          <p:cNvPr id="8" name="그림 7">
            <a:extLst>
              <a:ext uri="{FF2B5EF4-FFF2-40B4-BE49-F238E27FC236}">
                <a16:creationId xmlns:a16="http://schemas.microsoft.com/office/drawing/2014/main" xmlns="" id="{8B6BF575-B98E-4BEE-8BA0-5AD398DD5E4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479"/>
          <a:stretch/>
        </p:blipFill>
        <p:spPr>
          <a:xfrm>
            <a:off x="2609086" y="2528900"/>
            <a:ext cx="5038978" cy="3810034"/>
          </a:xfrm>
          <a:prstGeom prst="rect">
            <a:avLst/>
          </a:prstGeom>
        </p:spPr>
      </p:pic>
      <p:sp>
        <p:nvSpPr>
          <p:cNvPr id="3" name="직사각형 2"/>
          <p:cNvSpPr/>
          <p:nvPr/>
        </p:nvSpPr>
        <p:spPr>
          <a:xfrm>
            <a:off x="3833862" y="1592796"/>
            <a:ext cx="207781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ko-KR" altLang="en-US" sz="3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감사합니다</a:t>
            </a:r>
            <a:r>
              <a:rPr lang="en-US" altLang="ko-KR" sz="3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!</a:t>
            </a:r>
            <a:endParaRPr lang="en-US" altLang="ko-KR" sz="3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7902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1" y="80628"/>
            <a:ext cx="102600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2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영상 </a:t>
            </a:r>
            <a:r>
              <a:rPr kumimoji="0" lang="en-US" altLang="ko-KR" sz="2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API </a:t>
            </a:r>
            <a:r>
              <a:rPr kumimoji="0" lang="ko-KR" altLang="en-US" sz="2400" b="1" dirty="0" smtClean="0">
                <a:solidFill>
                  <a:prstClr val="black"/>
                </a:solidFill>
                <a:latin typeface="맑은 고딕"/>
                <a:ea typeface="맑은 고딕"/>
              </a:rPr>
              <a:t>개발 </a:t>
            </a:r>
            <a:r>
              <a:rPr kumimoji="0" lang="ko-KR" altLang="en-US" sz="2400" b="1" dirty="0">
                <a:solidFill>
                  <a:prstClr val="black"/>
                </a:solidFill>
                <a:latin typeface="맑은 고딕"/>
                <a:ea typeface="맑은 고딕"/>
              </a:rPr>
              <a:t>계획서</a:t>
            </a:r>
            <a:r>
              <a:rPr kumimoji="0" lang="en-US" altLang="ko-KR" sz="2400" b="1" dirty="0">
                <a:solidFill>
                  <a:prstClr val="black"/>
                </a:solidFill>
                <a:latin typeface="맑은 고딕"/>
                <a:ea typeface="맑은 고딕"/>
              </a:rPr>
              <a:t>(</a:t>
            </a:r>
            <a:r>
              <a:rPr kumimoji="0" lang="ko-KR" altLang="en-US" sz="2400" b="1" dirty="0">
                <a:solidFill>
                  <a:prstClr val="black"/>
                </a:solidFill>
                <a:latin typeface="맑은 고딕"/>
                <a:ea typeface="맑은 고딕"/>
              </a:rPr>
              <a:t>개발 부문</a:t>
            </a:r>
            <a:r>
              <a:rPr kumimoji="0" lang="en-US" altLang="ko-KR" sz="2400" b="1" dirty="0">
                <a:solidFill>
                  <a:prstClr val="black"/>
                </a:solidFill>
                <a:latin typeface="맑은 고딕"/>
                <a:ea typeface="맑은 고딕"/>
              </a:rPr>
              <a:t>)</a:t>
            </a:r>
            <a:endParaRPr kumimoji="0" lang="ko-KR" altLang="en-US" sz="2400" b="1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xmlns="" id="{6034196D-6DD8-45F0-883C-2CAF7B3AC3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317911"/>
              </p:ext>
            </p:extLst>
          </p:nvPr>
        </p:nvGraphicFramePr>
        <p:xfrm>
          <a:off x="485490" y="764704"/>
          <a:ext cx="9325036" cy="5724521"/>
        </p:xfrm>
        <a:graphic>
          <a:graphicData uri="http://schemas.openxmlformats.org/drawingml/2006/table">
            <a:tbl>
              <a:tblPr firstRow="1" bandRow="1"/>
              <a:tblGrid>
                <a:gridCol w="1332148">
                  <a:extLst>
                    <a:ext uri="{9D8B030D-6E8A-4147-A177-3AD203B41FA5}">
                      <a16:colId xmlns:a16="http://schemas.microsoft.com/office/drawing/2014/main" xmlns="" val="1424357759"/>
                    </a:ext>
                  </a:extLst>
                </a:gridCol>
                <a:gridCol w="3996444">
                  <a:extLst>
                    <a:ext uri="{9D8B030D-6E8A-4147-A177-3AD203B41FA5}">
                      <a16:colId xmlns:a16="http://schemas.microsoft.com/office/drawing/2014/main" xmlns="" val="3853253624"/>
                    </a:ext>
                  </a:extLst>
                </a:gridCol>
                <a:gridCol w="1332148">
                  <a:extLst>
                    <a:ext uri="{9D8B030D-6E8A-4147-A177-3AD203B41FA5}">
                      <a16:colId xmlns:a16="http://schemas.microsoft.com/office/drawing/2014/main" xmlns="" val="2144550360"/>
                    </a:ext>
                  </a:extLst>
                </a:gridCol>
                <a:gridCol w="2664296">
                  <a:extLst>
                    <a:ext uri="{9D8B030D-6E8A-4147-A177-3AD203B41FA5}">
                      <a16:colId xmlns:a16="http://schemas.microsoft.com/office/drawing/2014/main" xmlns="" val="2807924381"/>
                    </a:ext>
                  </a:extLst>
                </a:gridCol>
              </a:tblGrid>
              <a:tr h="360041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/>
                        <a:t>참가팀 이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100" dirty="0" smtClean="0">
                          <a:latin typeface="+mn-ea"/>
                          <a:ea typeface="+mn-ea"/>
                        </a:rPr>
                        <a:t>블루스크린</a:t>
                      </a:r>
                      <a:endParaRPr lang="ko-KR" altLang="en-US" sz="11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dirty="0" smtClean="0"/>
                        <a:t>접수자</a:t>
                      </a:r>
                      <a:endParaRPr lang="en-US" altLang="ko-KR" sz="1100" b="1" dirty="0" smtClean="0"/>
                    </a:p>
                    <a:p>
                      <a:pPr algn="ctr" latinLnBrk="1"/>
                      <a:r>
                        <a:rPr lang="en-US" altLang="ko-KR" sz="1100" b="1" dirty="0" smtClean="0"/>
                        <a:t>(</a:t>
                      </a:r>
                      <a:r>
                        <a:rPr lang="ko-KR" altLang="en-US" sz="1100" b="1" dirty="0"/>
                        <a:t>대표</a:t>
                      </a:r>
                      <a:r>
                        <a:rPr lang="en-US" altLang="ko-KR" sz="1100" b="1" dirty="0"/>
                        <a:t>)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박천욱</a:t>
                      </a:r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1147729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/>
                        <a:t>참가 분야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dirty="0"/>
                        <a:t>개발 </a:t>
                      </a:r>
                      <a:r>
                        <a:rPr lang="ko-KR" altLang="en-US" sz="1050" dirty="0" smtClean="0"/>
                        <a:t>분야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900301319"/>
                  </a:ext>
                </a:extLst>
              </a:tr>
              <a:tr h="312792">
                <a:tc gridSpan="4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600" b="1" dirty="0" smtClean="0"/>
                        <a:t>영상</a:t>
                      </a:r>
                      <a:r>
                        <a:rPr lang="en-US" altLang="ko-KR" sz="1600" b="1" baseline="0" dirty="0" smtClean="0"/>
                        <a:t> API </a:t>
                      </a:r>
                      <a:r>
                        <a:rPr lang="ko-KR" altLang="en-US" sz="1600" b="1" dirty="0" smtClean="0"/>
                        <a:t>기획서 </a:t>
                      </a:r>
                      <a:r>
                        <a:rPr lang="en-US" altLang="ko-KR" sz="1600" b="1" dirty="0"/>
                        <a:t>(</a:t>
                      </a:r>
                      <a:r>
                        <a:rPr lang="ko-KR" altLang="en-US" sz="1600" b="1" dirty="0"/>
                        <a:t>자유양식</a:t>
                      </a:r>
                      <a:r>
                        <a:rPr lang="en-US" altLang="ko-KR" sz="1600" b="1" dirty="0"/>
                        <a:t>)</a:t>
                      </a:r>
                      <a:endParaRPr lang="ko-KR" altLang="en-US" sz="16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53248044"/>
                  </a:ext>
                </a:extLst>
              </a:tr>
              <a:tr h="2669179">
                <a:tc gridSpan="4">
                  <a:txBody>
                    <a:bodyPr/>
                    <a:lstStyle>
                      <a:lvl1pPr marL="0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31624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86324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29487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72649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158118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589742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021367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452991" algn="l" defTabSz="863247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 smtClean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en-US" altLang="ko-KR" sz="1050" b="1" dirty="0">
                        <a:latin typeface="+mn-ea"/>
                        <a:ea typeface="+mn-ea"/>
                      </a:endParaRPr>
                    </a:p>
                    <a:p>
                      <a:pPr algn="l" latinLnBrk="1"/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856209224"/>
                  </a:ext>
                </a:extLst>
              </a:tr>
            </a:tbl>
          </a:graphicData>
        </a:graphic>
      </p:graphicFrame>
      <p:pic>
        <p:nvPicPr>
          <p:cNvPr id="6" name="그림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538" y="1880828"/>
            <a:ext cx="8621987" cy="4485600"/>
          </a:xfrm>
          <a:prstGeom prst="rect">
            <a:avLst/>
          </a:prstGeom>
        </p:spPr>
      </p:pic>
      <p:sp>
        <p:nvSpPr>
          <p:cNvPr id="7" name="제목 1"/>
          <p:cNvSpPr txBox="1">
            <a:spLocks/>
          </p:cNvSpPr>
          <p:nvPr/>
        </p:nvSpPr>
        <p:spPr>
          <a:xfrm>
            <a:off x="5214463" y="5935987"/>
            <a:ext cx="1851982" cy="385152"/>
          </a:xfrm>
          <a:prstGeom prst="rect">
            <a:avLst/>
          </a:prstGeom>
        </p:spPr>
        <p:txBody>
          <a:bodyPr vert="horz" lIns="91429" tIns="45715" rIns="91429" bIns="45715" rtlCol="0" anchor="ctr">
            <a:noAutofit/>
          </a:bodyPr>
          <a:lstStyle>
            <a:lvl1pPr algn="ctr" defTabSz="914296" rtl="0" eaLnBrk="1" latinLnBrk="1" hangingPunct="1">
              <a:spcBef>
                <a:spcPct val="0"/>
              </a:spcBef>
              <a:buNone/>
              <a:defRPr sz="4300" b="1" kern="1200" spc="-15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400" b="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블루스크린  </a:t>
            </a:r>
            <a:r>
              <a:rPr lang="en-US" altLang="ko-KR" sz="1400" b="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l  </a:t>
            </a:r>
            <a:r>
              <a:rPr lang="ko-KR" altLang="en-US" sz="1400" b="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팀장  </a:t>
            </a:r>
            <a:r>
              <a:rPr lang="en-US" altLang="ko-KR" sz="1400" b="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l  </a:t>
            </a:r>
            <a:r>
              <a:rPr lang="ko-KR" altLang="en-US" sz="1400" b="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박천욱</a:t>
            </a:r>
            <a:r>
              <a:rPr lang="en-US" altLang="ko-KR" sz="1400" b="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  </a:t>
            </a:r>
            <a:endParaRPr lang="ko-KR" altLang="en-US" sz="1400" b="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3139199" y="2995244"/>
            <a:ext cx="3996470" cy="1543923"/>
            <a:chOff x="2968722" y="2300549"/>
            <a:chExt cx="3996470" cy="1543923"/>
          </a:xfrm>
        </p:grpSpPr>
        <p:sp>
          <p:nvSpPr>
            <p:cNvPr id="10" name="직사각형 9"/>
            <p:cNvSpPr/>
            <p:nvPr/>
          </p:nvSpPr>
          <p:spPr>
            <a:xfrm>
              <a:off x="2983012" y="2300549"/>
              <a:ext cx="3982180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ko-KR" altLang="en-US" sz="4000" spc="-15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뫼비우스 Bold" panose="02000500000000000000" pitchFamily="2" charset="-127"/>
                  <a:ea typeface="뫼비우스 Bold" panose="02000500000000000000" pitchFamily="2" charset="-127"/>
                </a:rPr>
                <a:t>만나서 반갑습니다</a:t>
              </a:r>
              <a:r>
                <a:rPr lang="en-US" altLang="ko-KR" sz="4000" spc="-15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뫼비우스 Bold" panose="02000500000000000000" pitchFamily="2" charset="-127"/>
                  <a:ea typeface="뫼비우스 Bold" panose="02000500000000000000" pitchFamily="2" charset="-127"/>
                </a:rPr>
                <a:t>!</a:t>
              </a: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2968722" y="3013475"/>
              <a:ext cx="3602268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ko-KR" altLang="en-US" sz="2400" spc="-1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성균관대학교 </a:t>
              </a:r>
              <a:endParaRPr lang="en-US" altLang="ko-KR" sz="24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bg1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endParaRPr>
            </a:p>
            <a:p>
              <a:pPr lvl="0"/>
              <a:r>
                <a:rPr lang="ko-KR" altLang="en-US" sz="2400" spc="-1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학생 팀 </a:t>
              </a:r>
              <a:r>
                <a:rPr lang="en-US" altLang="ko-KR" sz="2400" spc="-10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&lt;</a:t>
              </a:r>
              <a:r>
                <a:rPr lang="ko-KR" altLang="en-US" sz="2400" spc="-1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블루스크린</a:t>
              </a:r>
              <a:r>
                <a:rPr lang="en-US" altLang="ko-KR" sz="2400" spc="-1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&gt;</a:t>
              </a:r>
              <a:r>
                <a:rPr lang="ko-KR" altLang="en-US" sz="2400" spc="-1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입니다</a:t>
              </a:r>
              <a:r>
                <a:rPr lang="en-US" altLang="ko-KR" sz="2400" spc="-1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rPr>
                <a:t>.</a:t>
              </a:r>
              <a:endParaRPr lang="en-US" altLang="ko-KR" sz="24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bg1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endParaRPr>
            </a:p>
          </p:txBody>
        </p:sp>
      </p:grpSp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76" r="-1456"/>
          <a:stretch/>
        </p:blipFill>
        <p:spPr>
          <a:xfrm>
            <a:off x="7066445" y="5526948"/>
            <a:ext cx="744575" cy="113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82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6"/>
            <a:srcRect l="49917"/>
            <a:stretch/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7"/>
            <a:srcRect r="49800"/>
            <a:stretch/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9" name="직사각형 8"/>
          <p:cNvSpPr/>
          <p:nvPr/>
        </p:nvSpPr>
        <p:spPr>
          <a:xfrm>
            <a:off x="4702408" y="1404065"/>
            <a:ext cx="89640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ko-KR" altLang="en-US" sz="32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목차</a:t>
            </a:r>
            <a:endParaRPr lang="en-US" altLang="ko-KR" sz="32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442268" y="2218174"/>
            <a:ext cx="60126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1.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수행 조직 및 인원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448559" y="2741394"/>
            <a:ext cx="600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.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제안 개요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448558" y="3287761"/>
            <a:ext cx="60063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3</a:t>
            </a:r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아이디어 구현 진행상황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40194" y="3835130"/>
            <a:ext cx="60147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4.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향후 서비스 운영 및 발전 방향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440193" y="4405646"/>
            <a:ext cx="60147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8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5</a:t>
            </a:r>
            <a:r>
              <a:rPr lang="en-US" altLang="ko-KR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. </a:t>
            </a:r>
            <a:r>
              <a:rPr lang="ko-KR" altLang="en-US" sz="28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시연 및 코드 자료</a:t>
            </a:r>
            <a:endParaRPr lang="en-US" altLang="ko-KR" sz="28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5234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Select="1" noChangeAspect="1"/>
          </p:cNvGraphicFramePr>
          <p:nvPr/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Picture 2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1" y="3176"/>
            <a:ext cx="10260012" cy="6854824"/>
            <a:chOff x="-9575" y="-297"/>
            <a:chExt cx="9925149" cy="6858594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5"/>
            <a:srcRect l="49920"/>
            <a:stretch>
              <a:fillRect/>
            </a:stretch>
          </p:blipFill>
          <p:spPr>
            <a:xfrm>
              <a:off x="4944794" y="-297"/>
              <a:ext cx="4970780" cy="6858594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 rotWithShape="1">
            <a:blip r:embed="rId6"/>
            <a:srcRect r="49800"/>
            <a:stretch>
              <a:fillRect/>
            </a:stretch>
          </p:blipFill>
          <p:spPr>
            <a:xfrm>
              <a:off x="-9575" y="-297"/>
              <a:ext cx="4982503" cy="6858594"/>
            </a:xfrm>
            <a:prstGeom prst="rect">
              <a:avLst/>
            </a:prstGeom>
          </p:spPr>
        </p:pic>
      </p:grpSp>
      <p:sp>
        <p:nvSpPr>
          <p:cNvPr id="17" name="직사각형 16"/>
          <p:cNvSpPr/>
          <p:nvPr/>
        </p:nvSpPr>
        <p:spPr>
          <a:xfrm>
            <a:off x="485490" y="941811"/>
            <a:ext cx="6012667" cy="513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1. </a:t>
            </a:r>
            <a:r>
              <a:rPr lang="ko-KR" altLang="en-US" sz="28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수행 조직 및 인원</a:t>
            </a:r>
            <a:endParaRPr lang="en-US" altLang="ko-KR" sz="2800" spc="-100">
              <a:ln w="9525"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/>
              <a:ea typeface="뫼비우스 Bold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485490" y="1869788"/>
            <a:ext cx="9073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 </a:t>
            </a:r>
            <a:r>
              <a:rPr lang="ko-KR" altLang="en-US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팀 </a:t>
            </a:r>
            <a:r>
              <a:rPr lang="en-US" altLang="ko-KR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accent2"/>
                </a:solidFill>
                <a:latin typeface="뫼비우스 Bold"/>
                <a:ea typeface="뫼비우스 Bold"/>
              </a:rPr>
              <a:t>&lt;</a:t>
            </a:r>
            <a:r>
              <a:rPr lang="ko-KR" altLang="en-US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accent2"/>
                </a:solidFill>
                <a:latin typeface="뫼비우스 Bold"/>
                <a:ea typeface="뫼비우스 Bold"/>
              </a:rPr>
              <a:t>블루스크린</a:t>
            </a:r>
            <a:r>
              <a:rPr lang="en-US" altLang="ko-KR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accent2"/>
                </a:solidFill>
                <a:latin typeface="뫼비우스 Bold"/>
                <a:ea typeface="뫼비우스 Bold"/>
              </a:rPr>
              <a:t>&gt;</a:t>
            </a:r>
            <a:r>
              <a:rPr lang="ko-KR" altLang="en-US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은 프로그래밍을 좋아하고 생활을 개선하는 개발을 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지향하는 세 명의 </a:t>
            </a:r>
            <a:r>
              <a:rPr lang="ko-KR" altLang="en-US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성균관대학교 컴퓨터교육과 </a:t>
            </a:r>
            <a:r>
              <a:rPr lang="ko-KR" altLang="en-US" sz="1600" spc="-100" dirty="0" smtClean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재학생이 모인 팀입니다</a:t>
            </a:r>
            <a:r>
              <a:rPr lang="en-US" altLang="ko-KR" sz="1600" spc="-100" dirty="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/>
                <a:ea typeface="뫼비우스 Bold"/>
              </a:rPr>
              <a:t>.</a:t>
            </a:r>
          </a:p>
        </p:txBody>
      </p:sp>
      <p:sp>
        <p:nvSpPr>
          <p:cNvPr id="20" name="타원 19"/>
          <p:cNvSpPr/>
          <p:nvPr/>
        </p:nvSpPr>
        <p:spPr>
          <a:xfrm rot="2700000">
            <a:off x="915735" y="2839568"/>
            <a:ext cx="2064160" cy="2064160"/>
          </a:xfrm>
          <a:prstGeom prst="ellipse">
            <a:avLst/>
          </a:prstGeom>
          <a:solidFill>
            <a:srgbClr val="EA002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9" name="타원 28"/>
          <p:cNvSpPr/>
          <p:nvPr/>
        </p:nvSpPr>
        <p:spPr>
          <a:xfrm rot="2700000">
            <a:off x="4122931" y="2831167"/>
            <a:ext cx="2064160" cy="2064160"/>
          </a:xfrm>
          <a:prstGeom prst="ellipse">
            <a:avLst/>
          </a:prstGeom>
          <a:solidFill>
            <a:srgbClr val="EA002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2" name="타원 31"/>
          <p:cNvSpPr/>
          <p:nvPr/>
        </p:nvSpPr>
        <p:spPr>
          <a:xfrm rot="2700000">
            <a:off x="7330127" y="2831167"/>
            <a:ext cx="2064160" cy="2064160"/>
          </a:xfrm>
          <a:prstGeom prst="ellipse">
            <a:avLst/>
          </a:prstGeom>
          <a:solidFill>
            <a:srgbClr val="EA002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7"/>
          <a:srcRect l="17870" t="50" r="7130" b="-50"/>
          <a:stretch>
            <a:fillRect/>
          </a:stretch>
        </p:blipFill>
        <p:spPr>
          <a:xfrm>
            <a:off x="976805" y="2914950"/>
            <a:ext cx="1947491" cy="1947491"/>
          </a:xfrm>
          <a:prstGeom prst="ellipse">
            <a:avLst/>
          </a:prstGeom>
        </p:spPr>
      </p:pic>
      <p:sp>
        <p:nvSpPr>
          <p:cNvPr id="3" name="모서리가 둥근 직사각형 2"/>
          <p:cNvSpPr/>
          <p:nvPr/>
        </p:nvSpPr>
        <p:spPr>
          <a:xfrm>
            <a:off x="1306601" y="4658522"/>
            <a:ext cx="1449370" cy="29434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36000" tIns="36000" rIns="36000" bIns="36000" anchor="ctr"/>
          <a:lstStyle/>
          <a:p>
            <a:pPr marL="0" marR="0" indent="0" algn="ctr" defTabSz="914400" eaLnBrk="1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i="0" u="none" strike="noStrike" kern="0" cap="none" spc="-60" normalizeH="0" baseline="0">
              <a:ln w="9525"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19095" y="4678061"/>
            <a:ext cx="2457440" cy="483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박천욱</a:t>
            </a:r>
          </a:p>
          <a:p>
            <a:pPr algn="ctr">
              <a:defRPr/>
            </a:pP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PM / 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메인 프레임 개발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/ UI</a:t>
            </a:r>
            <a:r>
              <a:rPr lang="ko-KR" altLang="en-US" sz="1200">
                <a:solidFill>
                  <a:srgbClr val="FF7A00"/>
                </a:solidFill>
              </a:rPr>
              <a:t>ㆍ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UX 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 </a:t>
            </a:r>
            <a:endParaRPr lang="ko-KR" altLang="en-US" sz="1200">
              <a:solidFill>
                <a:srgbClr val="FF7A00"/>
              </a:solidFill>
              <a:latin typeface="배달의민족 도현"/>
              <a:ea typeface="배달의민족 도현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8"/>
          <a:srcRect l="17890" t="12890" r="18800" b="25750"/>
          <a:stretch>
            <a:fillRect/>
          </a:stretch>
        </p:blipFill>
        <p:spPr>
          <a:xfrm>
            <a:off x="7426682" y="2891251"/>
            <a:ext cx="1867729" cy="1867729"/>
          </a:xfrm>
          <a:prstGeom prst="ellipse">
            <a:avLst/>
          </a:prstGeom>
        </p:spPr>
      </p:pic>
      <p:sp>
        <p:nvSpPr>
          <p:cNvPr id="33" name="모서리가 둥근 직사각형 32"/>
          <p:cNvSpPr/>
          <p:nvPr/>
        </p:nvSpPr>
        <p:spPr>
          <a:xfrm>
            <a:off x="7592822" y="4659302"/>
            <a:ext cx="1449370" cy="29434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36000" tIns="36000" rIns="36000" bIns="36000" anchor="ctr"/>
          <a:lstStyle/>
          <a:p>
            <a:pPr marL="0" marR="0" indent="0" algn="ctr" defTabSz="914400" eaLnBrk="1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i="0" u="none" strike="noStrike" kern="0" cap="none" spc="-60" normalizeH="0" baseline="0">
              <a:ln w="9525"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392006" y="4673775"/>
            <a:ext cx="2032424" cy="486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배성현</a:t>
            </a:r>
          </a:p>
          <a:p>
            <a:pPr algn="ctr">
              <a:defRPr/>
            </a:pP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Android app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 개발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/ Client 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통신</a:t>
            </a:r>
            <a:endParaRPr lang="ko-KR" altLang="en-US" sz="1200" spc="-100">
              <a:solidFill>
                <a:srgbClr val="FF7A00"/>
              </a:solidFill>
              <a:latin typeface="뫼비우스 Bold"/>
              <a:ea typeface="뫼비우스 Bold"/>
            </a:endParaRPr>
          </a:p>
        </p:txBody>
      </p:sp>
      <p:pic>
        <p:nvPicPr>
          <p:cNvPr id="35" name="그림 34"/>
          <p:cNvPicPr>
            <a:picLocks noChangeAspect="1"/>
          </p:cNvPicPr>
          <p:nvPr/>
        </p:nvPicPr>
        <p:blipFill rotWithShape="1">
          <a:blip r:embed="rId9"/>
          <a:srcRect l="310" t="6680" r="41310" b="49450"/>
          <a:stretch>
            <a:fillRect/>
          </a:stretch>
        </p:blipFill>
        <p:spPr>
          <a:xfrm>
            <a:off x="4185188" y="2891251"/>
            <a:ext cx="1963193" cy="1963193"/>
          </a:xfrm>
          <a:prstGeom prst="ellipse">
            <a:avLst/>
          </a:prstGeom>
        </p:spPr>
      </p:pic>
      <p:sp>
        <p:nvSpPr>
          <p:cNvPr id="30" name="모서리가 둥근 직사각형 29"/>
          <p:cNvSpPr/>
          <p:nvPr/>
        </p:nvSpPr>
        <p:spPr>
          <a:xfrm>
            <a:off x="4451391" y="4611809"/>
            <a:ext cx="1449370" cy="29434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36000" tIns="36000" rIns="36000" bIns="36000" anchor="ctr"/>
          <a:lstStyle/>
          <a:p>
            <a:pPr marL="0" marR="0" indent="0" algn="ctr" defTabSz="914400" eaLnBrk="1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i="0" u="none" strike="noStrike" kern="0" cap="none" spc="-60" normalizeH="0" baseline="0">
              <a:ln w="9525">
                <a:solidFill>
                  <a:prstClr val="white">
                    <a:alpha val="10000"/>
                  </a:prstClr>
                </a:solidFill>
              </a:ln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134396" y="4659302"/>
            <a:ext cx="2032423" cy="4822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4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EA002C"/>
                </a:solidFill>
                <a:latin typeface="뫼비우스 Bold"/>
                <a:ea typeface="뫼비우스 Bold"/>
              </a:rPr>
              <a:t>안형근</a:t>
            </a:r>
          </a:p>
          <a:p>
            <a:pPr algn="ctr">
              <a:defRPr/>
            </a:pP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Server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 개발 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/ Server </a:t>
            </a:r>
            <a:r>
              <a:rPr lang="ko-KR" altLang="en-US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통신</a:t>
            </a:r>
            <a:r>
              <a:rPr lang="en-US" altLang="ko-KR" sz="1200" spc="-100">
                <a:ln w="9525">
                  <a:solidFill>
                    <a:srgbClr val="5B9BD5">
                      <a:alpha val="0"/>
                    </a:srgbClr>
                  </a:solidFill>
                </a:ln>
                <a:solidFill>
                  <a:srgbClr val="FF7A00"/>
                </a:solidFill>
                <a:latin typeface="뫼비우스 Bold"/>
                <a:ea typeface="뫼비우스 Bold"/>
              </a:rPr>
              <a:t> </a:t>
            </a:r>
            <a:endParaRPr lang="ko-KR" altLang="en-US" sz="1200">
              <a:solidFill>
                <a:srgbClr val="FF7A00"/>
              </a:solidFill>
              <a:latin typeface="배달의민족 도현"/>
              <a:ea typeface="배달의민족 도현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177006" y="0"/>
            <a:ext cx="9922598" cy="6858000"/>
          </a:xfrm>
          <a:prstGeom prst="rect">
            <a:avLst/>
          </a:prstGeom>
          <a:pattFill prst="lt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pc="-150" dirty="0">
              <a:latin typeface="Century Gothic" panose="020B0502020202020204" pitchFamily="34" charset="0"/>
            </a:endParaRPr>
          </a:p>
        </p:txBody>
      </p:sp>
      <p:pic>
        <p:nvPicPr>
          <p:cNvPr id="12" name="그림 11" descr="사람, 노트북, 실내, 소파이(가) 표시된 사진&#10;&#10;매우 높은 신뢰도로 생성된 설명">
            <a:extLst>
              <a:ext uri="{FF2B5EF4-FFF2-40B4-BE49-F238E27FC236}">
                <a16:creationId xmlns="" xmlns:a16="http://schemas.microsoft.com/office/drawing/2014/main" id="{58F06C41-2FF6-4CB9-9E4A-CC37E89C08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2" b="25483"/>
          <a:stretch/>
        </p:blipFill>
        <p:spPr>
          <a:xfrm>
            <a:off x="223443" y="8619"/>
            <a:ext cx="9915418" cy="4284477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3059907" y="4491394"/>
            <a:ext cx="66716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ko-KR" altLang="en-US" sz="48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EA002C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제안 </a:t>
            </a:r>
            <a:r>
              <a:rPr lang="ko-KR" altLang="en-US" sz="48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개요</a:t>
            </a:r>
            <a:endParaRPr lang="ko-KR" altLang="en-US" sz="48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77006" y="4303643"/>
            <a:ext cx="9922598" cy="141749"/>
          </a:xfrm>
          <a:prstGeom prst="rect">
            <a:avLst/>
          </a:pr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466769" y="4303643"/>
            <a:ext cx="3632835" cy="141749"/>
          </a:xfrm>
          <a:prstGeom prst="rect">
            <a:avLst/>
          </a:prstGeom>
          <a:solidFill>
            <a:srgbClr val="FF7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54402" y="11114"/>
            <a:ext cx="9891640" cy="4303641"/>
          </a:xfrm>
          <a:prstGeom prst="rect">
            <a:avLst/>
          </a:prstGeom>
          <a:solidFill>
            <a:schemeClr val="tx1">
              <a:lumMod val="95000"/>
              <a:lumOff val="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entury Gothic" panose="020B0502020202020204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1537" y="319207"/>
            <a:ext cx="1088856" cy="349473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7768459" y="3092862"/>
            <a:ext cx="21268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atinLnBrk="0">
              <a:spcBef>
                <a:spcPts val="300"/>
              </a:spcBef>
            </a:pPr>
            <a:r>
              <a:rPr lang="en-US" altLang="ko-KR" sz="9600" dirty="0" smtClean="0">
                <a:ln>
                  <a:solidFill>
                    <a:schemeClr val="accent4">
                      <a:alpha val="0"/>
                    </a:schemeClr>
                  </a:solidFill>
                </a:ln>
                <a:solidFill>
                  <a:srgbClr val="FF7A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02</a:t>
            </a:r>
            <a:endParaRPr lang="ko-KR" altLang="en-US" sz="9600" dirty="0">
              <a:ln>
                <a:solidFill>
                  <a:schemeClr val="accent4">
                    <a:alpha val="0"/>
                  </a:schemeClr>
                </a:solidFill>
              </a:ln>
              <a:solidFill>
                <a:srgbClr val="FF7A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466769" y="5371156"/>
            <a:ext cx="36328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-1) 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추진 배경 및 필요성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486397" y="5755261"/>
            <a:ext cx="36328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-2) 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서비스 내용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466768" y="6107957"/>
            <a:ext cx="36328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2000" spc="-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2-3) </a:t>
            </a:r>
            <a:r>
              <a:rPr lang="ko-KR" altLang="en-US" sz="2000" spc="-1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rPr>
              <a:t>기대효과 및 활용방안</a:t>
            </a:r>
            <a:endParaRPr lang="en-US" altLang="ko-KR" sz="2000" spc="-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뫼비우스 Bold" panose="02000500000000000000" pitchFamily="2" charset="-127"/>
              <a:ea typeface="뫼비우스 Bold" panose="020005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337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90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3175" cap="flat" cmpd="sng" algn="ctr">
          <a:solidFill>
            <a:schemeClr val="bg1">
              <a:lumMod val="65000"/>
            </a:schemeClr>
          </a:solidFill>
          <a:prstDash val="solid"/>
        </a:ln>
        <a:effectLst/>
      </a:spPr>
      <a:bodyPr lIns="36000" tIns="36000" rIns="36000" bIns="36000" rtlCol="0" anchor="ctr"/>
      <a:lstStyle>
        <a:defPPr marL="0" marR="0" indent="0" algn="ctr" defTabSz="914400" eaLnBrk="1" fontAlgn="auto" latinLnBrk="0" hangingPunct="1">
          <a:lnSpc>
            <a:spcPts val="1600"/>
          </a:lnSpc>
          <a:spcBef>
            <a:spcPts val="0"/>
          </a:spcBef>
          <a:spcAft>
            <a:spcPts val="0"/>
          </a:spcAft>
          <a:buClrTx/>
          <a:buFontTx/>
          <a:buNone/>
          <a:defRPr kumimoji="0" i="0" u="none" strike="noStrike" kern="0" cap="none" spc="-60" normalizeH="0" baseline="0" noProof="0" dirty="0" smtClean="0">
            <a:ln w="9525">
              <a:solidFill>
                <a:prstClr val="white">
                  <a:alpha val="10000"/>
                </a:prstClr>
              </a:solidFill>
            </a:ln>
            <a:effectLst/>
            <a:uLnTx/>
            <a:uFillTx/>
            <a:latin typeface="+mn-ea"/>
            <a:ea typeface="+mn-ea"/>
            <a:cs typeface="+mn-cs"/>
          </a:defRPr>
        </a:defPPr>
      </a:lstStyle>
    </a:spDef>
    <a:lnDef>
      <a:spPr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</a:ln>
        <a:effectLst/>
      </a:spPr>
      <a:bodyPr/>
      <a:lstStyle/>
    </a:lnDef>
    <a:txDef>
      <a:spPr>
        <a:noFill/>
        <a:ln w="9525">
          <a:noFill/>
          <a:miter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 latinLnBrk="0">
          <a:spcBef>
            <a:spcPct val="20000"/>
          </a:spcBef>
          <a:buSzPct val="120000"/>
          <a:defRPr sz="1200" kern="0" dirty="0" smtClean="0">
            <a:latin typeface="+mn-ea"/>
            <a:ea typeface="+mn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1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90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3175" cap="flat" cmpd="sng" algn="ctr">
          <a:solidFill>
            <a:schemeClr val="bg1">
              <a:lumMod val="65000"/>
            </a:schemeClr>
          </a:solidFill>
          <a:prstDash val="solid"/>
        </a:ln>
        <a:effectLst/>
      </a:spPr>
      <a:bodyPr lIns="36000" tIns="36000" rIns="36000" bIns="36000" rtlCol="0" anchor="ctr"/>
      <a:lstStyle>
        <a:defPPr marL="0" marR="0" indent="0" algn="ctr" defTabSz="914400" eaLnBrk="1" fontAlgn="auto" latinLnBrk="0" hangingPunct="1">
          <a:lnSpc>
            <a:spcPts val="1600"/>
          </a:lnSpc>
          <a:spcBef>
            <a:spcPts val="0"/>
          </a:spcBef>
          <a:spcAft>
            <a:spcPts val="0"/>
          </a:spcAft>
          <a:buClrTx/>
          <a:buFontTx/>
          <a:buNone/>
          <a:defRPr kumimoji="0" i="0" u="none" strike="noStrike" kern="0" cap="none" spc="-60" normalizeH="0" baseline="0" noProof="0" dirty="0" smtClean="0">
            <a:ln w="9525">
              <a:solidFill>
                <a:prstClr val="white">
                  <a:alpha val="10000"/>
                </a:prstClr>
              </a:solidFill>
            </a:ln>
            <a:effectLst/>
            <a:uLnTx/>
            <a:uFillTx/>
            <a:latin typeface="+mn-ea"/>
            <a:ea typeface="+mn-ea"/>
            <a:cs typeface="+mn-cs"/>
          </a:defRPr>
        </a:defPPr>
      </a:lstStyle>
    </a:spDef>
    <a:lnDef>
      <a:spPr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</a:ln>
        <a:effectLst/>
      </a:spPr>
      <a:bodyPr/>
      <a:lstStyle/>
    </a:lnDef>
    <a:txDef>
      <a:spPr>
        <a:noFill/>
        <a:ln w="9525">
          <a:noFill/>
          <a:miter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 latinLnBrk="0">
          <a:spcBef>
            <a:spcPct val="20000"/>
          </a:spcBef>
          <a:buSzPct val="120000"/>
          <a:defRPr sz="1200" kern="0" dirty="0" smtClean="0">
            <a:latin typeface="+mn-ea"/>
            <a:ea typeface="+mn-ea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</TotalTime>
  <Words>3063</Words>
  <Application>Microsoft Office PowerPoint</Application>
  <PresentationFormat>사용자 지정</PresentationFormat>
  <Paragraphs>583</Paragraphs>
  <Slides>50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0</vt:i4>
      </vt:variant>
    </vt:vector>
  </HeadingPairs>
  <TitlesOfParts>
    <vt:vector size="64" baseType="lpstr">
      <vt:lpstr>Century Gothic</vt:lpstr>
      <vt:lpstr>Optima</vt:lpstr>
      <vt:lpstr>뫼비우스 Regular</vt:lpstr>
      <vt:lpstr>Wingdings</vt:lpstr>
      <vt:lpstr>굴림</vt:lpstr>
      <vt:lpstr>맑은 고딕</vt:lpstr>
      <vt:lpstr>배달의민족 도현</vt:lpstr>
      <vt:lpstr>뫼비우스 Bold</vt:lpstr>
      <vt:lpstr>Arial</vt:lpstr>
      <vt:lpstr>KoPub돋움체 Medium</vt:lpstr>
      <vt:lpstr>Rix정고딕 L</vt:lpstr>
      <vt:lpstr>1_디자인 사용자 지정</vt:lpstr>
      <vt:lpstr>1_1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개선과제 보고서</dc:title>
  <dc:creator>김응원/경영전략팀</dc:creator>
  <cp:lastModifiedBy>박 천욱</cp:lastModifiedBy>
  <cp:revision>22405</cp:revision>
  <dcterms:created xsi:type="dcterms:W3CDTF">1996-10-14T12:11:22Z</dcterms:created>
  <dcterms:modified xsi:type="dcterms:W3CDTF">2019-03-18T07:09:32Z</dcterms:modified>
  <cp:version>1000.0000.01</cp:version>
</cp:coreProperties>
</file>